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915" r:id="rId4"/>
  </p:sldMasterIdLst>
  <p:notesMasterIdLst>
    <p:notesMasterId r:id="rId22"/>
  </p:notesMasterIdLst>
  <p:sldIdLst>
    <p:sldId id="2147376510" r:id="rId5"/>
    <p:sldId id="2147376521" r:id="rId6"/>
    <p:sldId id="2147376524" r:id="rId7"/>
    <p:sldId id="2147376525" r:id="rId8"/>
    <p:sldId id="2147376548" r:id="rId9"/>
    <p:sldId id="2147376526" r:id="rId10"/>
    <p:sldId id="2147376549" r:id="rId11"/>
    <p:sldId id="2147376550" r:id="rId12"/>
    <p:sldId id="2147376567" r:id="rId13"/>
    <p:sldId id="2147376551" r:id="rId14"/>
    <p:sldId id="2147376554" r:id="rId15"/>
    <p:sldId id="2147376530" r:id="rId16"/>
    <p:sldId id="2147376565" r:id="rId17"/>
    <p:sldId id="2147376566" r:id="rId18"/>
    <p:sldId id="2147376552" r:id="rId19"/>
    <p:sldId id="2147376553" r:id="rId20"/>
    <p:sldId id="2147376515" r:id="rId21"/>
  </p:sldIdLst>
  <p:sldSz cx="12192000" cy="6858000"/>
  <p:notesSz cx="6805613" cy="9939338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in" id="{BE6D6636-5690-482B-8E4B-0EDDD92399A1}">
          <p14:sldIdLst>
            <p14:sldId id="2147376510"/>
            <p14:sldId id="2147376521"/>
            <p14:sldId id="2147376524"/>
            <p14:sldId id="2147376525"/>
            <p14:sldId id="2147376548"/>
            <p14:sldId id="2147376526"/>
            <p14:sldId id="2147376549"/>
            <p14:sldId id="2147376550"/>
            <p14:sldId id="2147376567"/>
            <p14:sldId id="2147376551"/>
            <p14:sldId id="2147376554"/>
            <p14:sldId id="2147376530"/>
            <p14:sldId id="2147376565"/>
            <p14:sldId id="2147376566"/>
            <p14:sldId id="2147376552"/>
            <p14:sldId id="2147376553"/>
            <p14:sldId id="2147376515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40" clrIdx="0"/>
  <p:cmAuthor id="2" name="McArdle, Max" initials="MM" lastIdx="1" clrIdx="1">
    <p:extLst>
      <p:ext uri="{19B8F6BF-5375-455C-9EA6-DF929625EA0E}">
        <p15:presenceInfo xmlns:p15="http://schemas.microsoft.com/office/powerpoint/2012/main" userId="S::max.mcardle@takeda.com::5a59968e-e782-4d81-8e54-3bb2178d1e60" providerId="AD"/>
      </p:ext>
    </p:extLst>
  </p:cmAuthor>
  <p:cmAuthor id="3" name="Ikei, Saori" initials="IS" lastIdx="3" clrIdx="2">
    <p:extLst>
      <p:ext uri="{19B8F6BF-5375-455C-9EA6-DF929625EA0E}">
        <p15:presenceInfo xmlns:p15="http://schemas.microsoft.com/office/powerpoint/2012/main" userId="S::saori.ikei@takeda.com::61c7d4bd-e5e6-4b2f-ad6e-7417835daa49" providerId="AD"/>
      </p:ext>
    </p:extLst>
  </p:cmAuthor>
  <p:cmAuthor id="4" name="Branislava Gemović" initials="BG" lastIdx="1" clrIdx="3">
    <p:extLst>
      <p:ext uri="{19B8F6BF-5375-455C-9EA6-DF929625EA0E}">
        <p15:presenceInfo xmlns:p15="http://schemas.microsoft.com/office/powerpoint/2012/main" userId="S::branislava.gemovic@ite.gov.rs::014ddb51-e206-4249-beb3-b92a46468dc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419A"/>
    <a:srgbClr val="0E1D42"/>
    <a:srgbClr val="22ECC7"/>
    <a:srgbClr val="00B1D3"/>
    <a:srgbClr val="336699"/>
    <a:srgbClr val="32AEA4"/>
    <a:srgbClr val="FCD624"/>
    <a:srgbClr val="505050"/>
    <a:srgbClr val="6CB45A"/>
    <a:srgbClr val="7EC2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122" autoAdjust="0"/>
    <p:restoredTop sz="96327" autoAdjust="0"/>
  </p:normalViewPr>
  <p:slideViewPr>
    <p:cSldViewPr snapToGrid="0">
      <p:cViewPr varScale="1">
        <p:scale>
          <a:sx n="67" d="100"/>
          <a:sy n="67" d="100"/>
        </p:scale>
        <p:origin x="484" y="44"/>
      </p:cViewPr>
      <p:guideLst>
        <p:guide pos="3840"/>
        <p:guide orient="horz" pos="2137"/>
      </p:guideLst>
    </p:cSldViewPr>
  </p:slideViewPr>
  <p:notesTextViewPr>
    <p:cViewPr>
      <p:scale>
        <a:sx n="20" d="100"/>
        <a:sy n="2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5600" y="28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1"/>
            <a:ext cx="2949100" cy="498693"/>
          </a:xfrm>
          <a:prstGeom prst="rect">
            <a:avLst/>
          </a:prstGeom>
        </p:spPr>
        <p:txBody>
          <a:bodyPr vert="horz" lIns="94640" tIns="47320" rIns="94640" bIns="47320" rtlCol="0"/>
          <a:lstStyle>
            <a:lvl1pPr algn="r">
              <a:defRPr sz="1200"/>
            </a:lvl1pPr>
          </a:lstStyle>
          <a:p>
            <a:fld id="{625DEF87-78CF-4C57-A0B1-A9406068048C}" type="datetimeFigureOut">
              <a:rPr lang="en-US" smtClean="0"/>
              <a:t>14-Mar-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40" tIns="47320" rIns="94640" bIns="473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5"/>
          </a:xfrm>
          <a:prstGeom prst="rect">
            <a:avLst/>
          </a:prstGeom>
        </p:spPr>
        <p:txBody>
          <a:bodyPr vert="horz" lIns="94640" tIns="47320" rIns="94640" bIns="473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100" cy="498692"/>
          </a:xfrm>
          <a:prstGeom prst="rect">
            <a:avLst/>
          </a:prstGeom>
        </p:spPr>
        <p:txBody>
          <a:bodyPr vert="horz" lIns="94640" tIns="47320" rIns="94640" bIns="47320" rtlCol="0" anchor="b"/>
          <a:lstStyle>
            <a:lvl1pPr algn="r">
              <a:defRPr sz="1200"/>
            </a:lvl1pPr>
          </a:lstStyle>
          <a:p>
            <a:fld id="{49E0EA7B-6822-4EC8-8C65-EACC542A139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591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9.jp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 userDrawn="1"/>
        </p:nvSpPr>
        <p:spPr>
          <a:xfrm>
            <a:off x="0" y="61263"/>
            <a:ext cx="255181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005" y="506"/>
            <a:ext cx="1145935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JP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3956816"/>
            <a:ext cx="7699670" cy="101568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rgbClr val="2A419A"/>
                </a:solidFill>
                <a:latin typeface="HelveticaNeueLT Pro 75 Bd" panose="020B080402020202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 userDrawn="1"/>
        </p:nvSpPr>
        <p:spPr>
          <a:xfrm>
            <a:off x="749005" y="3764031"/>
            <a:ext cx="97200" cy="2707182"/>
          </a:xfrm>
          <a:prstGeom prst="rect">
            <a:avLst/>
          </a:prstGeom>
          <a:solidFill>
            <a:srgbClr val="2A4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94728" y="5256031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94728" y="5515045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94728" y="5769532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94728" y="4997510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8" y="6027352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rgbClr val="0E1D42"/>
                </a:solidFill>
                <a:latin typeface="HelveticaNeueLT Pro 35 Th" panose="020B040302020202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E8E8AC-8C56-34C2-B015-7018680213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6322" y="4218076"/>
            <a:ext cx="1924762" cy="1558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64281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  <p15:guide id="3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2" spcCol="5400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two-column layout. Click to add content. 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Two-column layout. Click to add title</a:t>
            </a:r>
            <a:endParaRPr kumimoji="1" lang="ja-JP" alt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9634AC-7DDA-D44D-88DB-5850289DD64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E22A984C-7436-8C4C-83C8-F2AD67592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A6720AD-4FA4-A146-AEEB-A4E558BAA3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CB47944-B3A3-9AA0-9BF0-7C36956E0B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037409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2279130"/>
          </a:xfrm>
          <a:prstGeom prst="rect">
            <a:avLst/>
          </a:prstGeom>
        </p:spPr>
        <p:txBody>
          <a:bodyPr wrap="square" lIns="0" tIns="0" rIns="0" bIns="0" anchor="ctr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rgbClr val="2A419A"/>
                </a:solidFill>
                <a:latin typeface="HelveticaNeueLT Pro 75 Bd" panose="020B080402020202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section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rgbClr val="2A4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46656F8F-0621-5F47-BF80-4A4E365A2D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42541" y="-1"/>
            <a:ext cx="5565823" cy="6416675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158474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782524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  <a:gd name="connsiteX0" fmla="*/ 0 w 11459359"/>
              <a:gd name="connsiteY0" fmla="*/ 1652 h 3360592"/>
              <a:gd name="connsiteX1" fmla="*/ 11459359 w 11459359"/>
              <a:gd name="connsiteY1" fmla="*/ 0 h 3360592"/>
              <a:gd name="connsiteX2" fmla="*/ 11438924 w 11459359"/>
              <a:gd name="connsiteY2" fmla="*/ 3360592 h 3360592"/>
              <a:gd name="connsiteX3" fmla="*/ 1188396 w 11459359"/>
              <a:gd name="connsiteY3" fmla="*/ 3358591 h 3360592"/>
              <a:gd name="connsiteX4" fmla="*/ 0 w 11459359"/>
              <a:gd name="connsiteY4" fmla="*/ 2946995 h 3360592"/>
              <a:gd name="connsiteX5" fmla="*/ 0 w 11459359"/>
              <a:gd name="connsiteY5" fmla="*/ 1652 h 336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0592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1188396" y="3358591"/>
                </a:lnTo>
                <a:cubicBezTo>
                  <a:pt x="848612" y="3356903"/>
                  <a:pt x="0" y="3267167"/>
                  <a:pt x="0" y="2946995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3341281494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5DA52-BBAF-EA48-AEC6-EA08F428CF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371959"/>
            <a:ext cx="11591925" cy="60447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100000"/>
              </a:lnSpc>
              <a:buNone/>
              <a:defRPr sz="3000"/>
            </a:lvl1pPr>
          </a:lstStyle>
          <a:p>
            <a:pPr lvl="0"/>
            <a:r>
              <a:rPr lang="en-US" dirty="0"/>
              <a:t>Blank slide</a:t>
            </a:r>
            <a:endParaRPr lang="en-JP" dirty="0"/>
          </a:p>
        </p:txBody>
      </p:sp>
    </p:spTree>
    <p:extLst>
      <p:ext uri="{BB962C8B-B14F-4D97-AF65-F5344CB8AC3E}">
        <p14:creationId xmlns:p14="http://schemas.microsoft.com/office/powerpoint/2010/main" val="322656947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3BB454FD-9C16-FC47-B46E-6675394572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13726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68F3A49-7287-1C4D-93C8-50E3C0B4F1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99967" y="3575904"/>
            <a:ext cx="3763545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21" name="Footer Placeholder 8">
            <a:extLst>
              <a:ext uri="{FF2B5EF4-FFF2-40B4-BE49-F238E27FC236}">
                <a16:creationId xmlns:a16="http://schemas.microsoft.com/office/drawing/2014/main" id="{519BC59F-4516-0043-8BAC-F9FE45B6A9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4" name="タイトル プレースホルダ 1">
            <a:extLst>
              <a:ext uri="{FF2B5EF4-FFF2-40B4-BE49-F238E27FC236}">
                <a16:creationId xmlns:a16="http://schemas.microsoft.com/office/drawing/2014/main" id="{CC986DF6-9894-F144-B9DA-A9DBE0000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6528CE-2840-6C44-965A-04D8835743E3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7" name="スライド番号プレースホルダ 5">
            <a:extLst>
              <a:ext uri="{FF2B5EF4-FFF2-40B4-BE49-F238E27FC236}">
                <a16:creationId xmlns:a16="http://schemas.microsoft.com/office/drawing/2014/main" id="{854E474F-30B0-604E-9699-287AC57CAA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9681050-C142-4F4F-B3C6-6F52F3C55C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10504E2-40F0-054E-8424-D247EF2CA2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11569700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73E75F2-7FFB-DC4C-8964-799372FCF5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11569700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569916C-1D1C-0991-B854-8E1F4E471F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77115" y="138868"/>
            <a:ext cx="872252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322833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B3311DE3-EC35-4C49-805E-57AB2D90E99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10743" y="1093767"/>
            <a:ext cx="7988356" cy="5322908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88356" h="5135028">
                <a:moveTo>
                  <a:pt x="0" y="0"/>
                </a:moveTo>
                <a:lnTo>
                  <a:pt x="7988281" y="7569"/>
                </a:lnTo>
                <a:cubicBezTo>
                  <a:pt x="7989186" y="2154376"/>
                  <a:pt x="7981645" y="2988221"/>
                  <a:pt x="7982550" y="5135028"/>
                </a:cubicBezTo>
                <a:lnTo>
                  <a:pt x="596656" y="5124807"/>
                </a:lnTo>
                <a:cubicBezTo>
                  <a:pt x="276484" y="5124807"/>
                  <a:pt x="16934" y="4865257"/>
                  <a:pt x="16934" y="4545085"/>
                </a:cubicBezTo>
                <a:cubicBezTo>
                  <a:pt x="11289" y="3022648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E4ACE247-6DA5-F044-A880-12BDFE1490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1545CFCD-ABA6-1349-9917-1DDD2762C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730F84-B57E-C441-B81C-A0677388FA64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78815F79-70B9-A343-88C1-1B41F15106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6ACFB15D-3880-FB46-8B5A-E057FE4C9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3CD883-F623-E54C-A27A-38B7EB9570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E1D42"/>
                </a:solidFill>
              </a:defRPr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B2D601E3-CC68-7845-AAF4-3AD141198B4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B4881F3-917D-CA45-55B2-2DDAF03285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77115" y="138868"/>
            <a:ext cx="872252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965478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5454" y="-5494"/>
            <a:ext cx="6024384" cy="6863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6863494">
                <a:moveTo>
                  <a:pt x="0" y="5684"/>
                </a:moveTo>
                <a:lnTo>
                  <a:pt x="6002349" y="0"/>
                </a:lnTo>
                <a:cubicBezTo>
                  <a:pt x="6003254" y="2146807"/>
                  <a:pt x="6023479" y="4716687"/>
                  <a:pt x="6024384" y="6863494"/>
                </a:cubicBezTo>
                <a:lnTo>
                  <a:pt x="583404" y="6853273"/>
                </a:lnTo>
                <a:cubicBezTo>
                  <a:pt x="263232" y="6853273"/>
                  <a:pt x="3682" y="6593723"/>
                  <a:pt x="3682" y="6273551"/>
                </a:cubicBezTo>
                <a:cubicBezTo>
                  <a:pt x="-1963" y="4751114"/>
                  <a:pt x="5645" y="1528121"/>
                  <a:pt x="0" y="5684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5708650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5413722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DBCF76-3461-2245-8BB1-FA50AE27F6CA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541372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570488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570488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3678310869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7660042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36961" y="1093767"/>
            <a:ext cx="4069500" cy="5331536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9500" h="5131753">
                <a:moveTo>
                  <a:pt x="0" y="6946"/>
                </a:moveTo>
                <a:lnTo>
                  <a:pt x="4069425" y="0"/>
                </a:lnTo>
                <a:cubicBezTo>
                  <a:pt x="4070330" y="2146807"/>
                  <a:pt x="4062788" y="2966138"/>
                  <a:pt x="4063693" y="5112945"/>
                </a:cubicBezTo>
                <a:lnTo>
                  <a:pt x="596656" y="5131753"/>
                </a:lnTo>
                <a:cubicBezTo>
                  <a:pt x="276484" y="5131753"/>
                  <a:pt x="16934" y="4872203"/>
                  <a:pt x="16934" y="4552031"/>
                </a:cubicBezTo>
                <a:cubicBezTo>
                  <a:pt x="11289" y="3029594"/>
                  <a:pt x="5645" y="1529383"/>
                  <a:pt x="0" y="6946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CCEDFD04-9A53-9241-851E-1D01DC555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20" name="Footer Placeholder 8">
            <a:extLst>
              <a:ext uri="{FF2B5EF4-FFF2-40B4-BE49-F238E27FC236}">
                <a16:creationId xmlns:a16="http://schemas.microsoft.com/office/drawing/2014/main" id="{1E1D8887-7EAE-1A40-9285-7C632FEAA8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65B3EBD-E4F5-8E40-B07A-C04F3B1E7F2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6" name="スライド番号プレースホルダ 5">
            <a:extLst>
              <a:ext uri="{FF2B5EF4-FFF2-40B4-BE49-F238E27FC236}">
                <a16:creationId xmlns:a16="http://schemas.microsoft.com/office/drawing/2014/main" id="{3D5D14EF-A351-224D-8142-E1BEE44BBC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4D0A49B6-0BCC-C545-BF97-504B63062F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82FCE78-36AB-904B-98A8-CE3FFB1555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7660041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2ECF95F-F25E-8248-A0F3-BB1749A1B4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49" y="1093767"/>
            <a:ext cx="7660041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CE17D05-50D8-E012-5696-DA515BCE5F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311237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1/3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49" y="3575904"/>
            <a:ext cx="7663807" cy="2859621"/>
          </a:xfrm>
          <a:prstGeom prst="rect">
            <a:avLst/>
          </a:prstGeom>
        </p:spPr>
        <p:txBody>
          <a:bodyPr tIns="0" rIns="0" bIns="0" numCol="2" spcCol="126000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54C5EE8-C42D-B549-B4D4-C0F00D68A42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3708" y="-1378"/>
            <a:ext cx="4076946" cy="686084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8853"/>
              <a:gd name="connsiteY0" fmla="*/ 0 h 5124807"/>
              <a:gd name="connsiteX1" fmla="*/ 6028853 w 6028853"/>
              <a:gd name="connsiteY1" fmla="*/ 7569 h 5124807"/>
              <a:gd name="connsiteX2" fmla="*/ 4063693 w 6028853"/>
              <a:gd name="connsiteY2" fmla="*/ 5105999 h 5124807"/>
              <a:gd name="connsiteX3" fmla="*/ 596656 w 6028853"/>
              <a:gd name="connsiteY3" fmla="*/ 5124807 h 5124807"/>
              <a:gd name="connsiteX4" fmla="*/ 16934 w 6028853"/>
              <a:gd name="connsiteY4" fmla="*/ 4545085 h 5124807"/>
              <a:gd name="connsiteX5" fmla="*/ 0 w 6028853"/>
              <a:gd name="connsiteY5" fmla="*/ 0 h 5124807"/>
              <a:gd name="connsiteX0" fmla="*/ 0 w 4069500"/>
              <a:gd name="connsiteY0" fmla="*/ 0 h 5124807"/>
              <a:gd name="connsiteX1" fmla="*/ 4069425 w 4069500"/>
              <a:gd name="connsiteY1" fmla="*/ 7569 h 5124807"/>
              <a:gd name="connsiteX2" fmla="*/ 4063693 w 4069500"/>
              <a:gd name="connsiteY2" fmla="*/ 5105999 h 5124807"/>
              <a:gd name="connsiteX3" fmla="*/ 596656 w 4069500"/>
              <a:gd name="connsiteY3" fmla="*/ 5124807 h 5124807"/>
              <a:gd name="connsiteX4" fmla="*/ 16934 w 4069500"/>
              <a:gd name="connsiteY4" fmla="*/ 4545085 h 5124807"/>
              <a:gd name="connsiteX5" fmla="*/ 0 w 4069500"/>
              <a:gd name="connsiteY5" fmla="*/ 0 h 5124807"/>
              <a:gd name="connsiteX0" fmla="*/ 0 w 4069500"/>
              <a:gd name="connsiteY0" fmla="*/ 6946 h 5131753"/>
              <a:gd name="connsiteX1" fmla="*/ 4069425 w 4069500"/>
              <a:gd name="connsiteY1" fmla="*/ 0 h 5131753"/>
              <a:gd name="connsiteX2" fmla="*/ 4063693 w 4069500"/>
              <a:gd name="connsiteY2" fmla="*/ 5112945 h 5131753"/>
              <a:gd name="connsiteX3" fmla="*/ 596656 w 4069500"/>
              <a:gd name="connsiteY3" fmla="*/ 5131753 h 5131753"/>
              <a:gd name="connsiteX4" fmla="*/ 16934 w 4069500"/>
              <a:gd name="connsiteY4" fmla="*/ 4552031 h 5131753"/>
              <a:gd name="connsiteX5" fmla="*/ 0 w 4069500"/>
              <a:gd name="connsiteY5" fmla="*/ 6946 h 5131753"/>
              <a:gd name="connsiteX0" fmla="*/ 0 w 4082753"/>
              <a:gd name="connsiteY0" fmla="*/ 2 h 6874096"/>
              <a:gd name="connsiteX1" fmla="*/ 4082678 w 4082753"/>
              <a:gd name="connsiteY1" fmla="*/ 1742343 h 6874096"/>
              <a:gd name="connsiteX2" fmla="*/ 4076946 w 4082753"/>
              <a:gd name="connsiteY2" fmla="*/ 6855288 h 6874096"/>
              <a:gd name="connsiteX3" fmla="*/ 609909 w 4082753"/>
              <a:gd name="connsiteY3" fmla="*/ 6874096 h 6874096"/>
              <a:gd name="connsiteX4" fmla="*/ 30187 w 4082753"/>
              <a:gd name="connsiteY4" fmla="*/ 6294374 h 6874096"/>
              <a:gd name="connsiteX5" fmla="*/ 0 w 4082753"/>
              <a:gd name="connsiteY5" fmla="*/ 2 h 6874096"/>
              <a:gd name="connsiteX0" fmla="*/ 0 w 4095958"/>
              <a:gd name="connsiteY0" fmla="*/ 6946 h 6881040"/>
              <a:gd name="connsiteX1" fmla="*/ 4095930 w 4095958"/>
              <a:gd name="connsiteY1" fmla="*/ 0 h 6881040"/>
              <a:gd name="connsiteX2" fmla="*/ 4076946 w 4095958"/>
              <a:gd name="connsiteY2" fmla="*/ 6862232 h 6881040"/>
              <a:gd name="connsiteX3" fmla="*/ 609909 w 4095958"/>
              <a:gd name="connsiteY3" fmla="*/ 6881040 h 6881040"/>
              <a:gd name="connsiteX4" fmla="*/ 30187 w 4095958"/>
              <a:gd name="connsiteY4" fmla="*/ 6301318 h 6881040"/>
              <a:gd name="connsiteX5" fmla="*/ 0 w 4095958"/>
              <a:gd name="connsiteY5" fmla="*/ 6946 h 6881040"/>
              <a:gd name="connsiteX0" fmla="*/ 0 w 4076946"/>
              <a:gd name="connsiteY0" fmla="*/ 0 h 6874094"/>
              <a:gd name="connsiteX1" fmla="*/ 3870643 w 4076946"/>
              <a:gd name="connsiteY1" fmla="*/ 191837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0 h 6874094"/>
              <a:gd name="connsiteX1" fmla="*/ 4069426 w 4076946"/>
              <a:gd name="connsiteY1" fmla="*/ 19559 h 6874094"/>
              <a:gd name="connsiteX2" fmla="*/ 4076946 w 4076946"/>
              <a:gd name="connsiteY2" fmla="*/ 6855286 h 6874094"/>
              <a:gd name="connsiteX3" fmla="*/ 609909 w 4076946"/>
              <a:gd name="connsiteY3" fmla="*/ 6874094 h 6874094"/>
              <a:gd name="connsiteX4" fmla="*/ 30187 w 4076946"/>
              <a:gd name="connsiteY4" fmla="*/ 6294372 h 6874094"/>
              <a:gd name="connsiteX5" fmla="*/ 0 w 4076946"/>
              <a:gd name="connsiteY5" fmla="*/ 0 h 6874094"/>
              <a:gd name="connsiteX0" fmla="*/ 0 w 4076946"/>
              <a:gd name="connsiteY0" fmla="*/ 99710 h 6854535"/>
              <a:gd name="connsiteX1" fmla="*/ 4069426 w 4076946"/>
              <a:gd name="connsiteY1" fmla="*/ 0 h 6854535"/>
              <a:gd name="connsiteX2" fmla="*/ 4076946 w 4076946"/>
              <a:gd name="connsiteY2" fmla="*/ 6835727 h 6854535"/>
              <a:gd name="connsiteX3" fmla="*/ 609909 w 4076946"/>
              <a:gd name="connsiteY3" fmla="*/ 6854535 h 6854535"/>
              <a:gd name="connsiteX4" fmla="*/ 30187 w 4076946"/>
              <a:gd name="connsiteY4" fmla="*/ 6274813 h 6854535"/>
              <a:gd name="connsiteX5" fmla="*/ 0 w 4076946"/>
              <a:gd name="connsiteY5" fmla="*/ 99710 h 6854535"/>
              <a:gd name="connsiteX0" fmla="*/ 0 w 4076946"/>
              <a:gd name="connsiteY0" fmla="*/ 0 h 6860842"/>
              <a:gd name="connsiteX1" fmla="*/ 4069426 w 4076946"/>
              <a:gd name="connsiteY1" fmla="*/ 6307 h 6860842"/>
              <a:gd name="connsiteX2" fmla="*/ 4076946 w 4076946"/>
              <a:gd name="connsiteY2" fmla="*/ 6842034 h 6860842"/>
              <a:gd name="connsiteX3" fmla="*/ 609909 w 4076946"/>
              <a:gd name="connsiteY3" fmla="*/ 6860842 h 6860842"/>
              <a:gd name="connsiteX4" fmla="*/ 30187 w 4076946"/>
              <a:gd name="connsiteY4" fmla="*/ 6281120 h 6860842"/>
              <a:gd name="connsiteX5" fmla="*/ 0 w 4076946"/>
              <a:gd name="connsiteY5" fmla="*/ 0 h 686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6946" h="6860842">
                <a:moveTo>
                  <a:pt x="0" y="0"/>
                </a:moveTo>
                <a:lnTo>
                  <a:pt x="4069426" y="6307"/>
                </a:lnTo>
                <a:cubicBezTo>
                  <a:pt x="4070331" y="2153114"/>
                  <a:pt x="4076041" y="4695227"/>
                  <a:pt x="4076946" y="6842034"/>
                </a:cubicBezTo>
                <a:lnTo>
                  <a:pt x="609909" y="6860842"/>
                </a:lnTo>
                <a:cubicBezTo>
                  <a:pt x="289737" y="6860842"/>
                  <a:pt x="30187" y="6601292"/>
                  <a:pt x="30187" y="6281120"/>
                </a:cubicBezTo>
                <a:cubicBezTo>
                  <a:pt x="24542" y="4758683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6FB24DD6-99CB-CE43-A787-C9F60DC95F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9" y="161605"/>
            <a:ext cx="7368878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130E5B-E573-584B-8C83-F8409492B14B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1" name="スライド番号プレースホルダ 5">
            <a:extLst>
              <a:ext uri="{FF2B5EF4-FFF2-40B4-BE49-F238E27FC236}">
                <a16:creationId xmlns:a16="http://schemas.microsoft.com/office/drawing/2014/main" id="{C55CC856-2ADD-F44F-96B6-03734457C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DB94AACD-56D4-F146-AFC0-5CBE6630C5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3A8AA34-7C7D-A24F-AF24-5158DD2AB0E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7660042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F4B55CE-CF3E-7E44-A66A-599621CA5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7660042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</p:spTree>
    <p:extLst>
      <p:ext uri="{BB962C8B-B14F-4D97-AF65-F5344CB8AC3E}">
        <p14:creationId xmlns:p14="http://schemas.microsoft.com/office/powerpoint/2010/main" val="2890663235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Image 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21DF8897-54F9-C24F-8261-0C5418827A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110737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1"/>
                </a:solidFill>
              </a:defRPr>
            </a:lvl1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JP" dirty="0"/>
              <a:t>Insert Picture/Text Block</a:t>
            </a:r>
          </a:p>
          <a:p>
            <a:endParaRPr lang="en-JP" dirty="0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8D6B3691-FCAC-8A46-AA30-DEB2A719C7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11373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icture/Text Block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AA8F528A-C9DE-0B46-881A-43E0F9B6F67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244494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icture/Text Block</a:t>
            </a:r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E01CF285-75D7-154A-ACF2-9393FB0B38D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177615" y="3076286"/>
            <a:ext cx="2772041" cy="3138969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18553"/>
              <a:gd name="connsiteX1" fmla="*/ 8912928 w 8915642"/>
              <a:gd name="connsiteY1" fmla="*/ 176478 h 6618553"/>
              <a:gd name="connsiteX2" fmla="*/ 8915642 w 8915642"/>
              <a:gd name="connsiteY2" fmla="*/ 6616899 h 6618553"/>
              <a:gd name="connsiteX3" fmla="*/ 579722 w 8915642"/>
              <a:gd name="connsiteY3" fmla="*/ 6618553 h 6618553"/>
              <a:gd name="connsiteX4" fmla="*/ 0 w 8915642"/>
              <a:gd name="connsiteY4" fmla="*/ 6038831 h 6618553"/>
              <a:gd name="connsiteX5" fmla="*/ 0 w 8915642"/>
              <a:gd name="connsiteY5" fmla="*/ 1 h 6618553"/>
              <a:gd name="connsiteX0" fmla="*/ 0 w 8915642"/>
              <a:gd name="connsiteY0" fmla="*/ 25404 h 6643956"/>
              <a:gd name="connsiteX1" fmla="*/ 6015348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25404 h 6643956"/>
              <a:gd name="connsiteX0" fmla="*/ 0 w 8915642"/>
              <a:gd name="connsiteY0" fmla="*/ 1653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1653 h 6620205"/>
              <a:gd name="connsiteX0" fmla="*/ 0 w 8915642"/>
              <a:gd name="connsiteY0" fmla="*/ 96656 h 6620205"/>
              <a:gd name="connsiteX1" fmla="*/ 6003473 w 8915642"/>
              <a:gd name="connsiteY1" fmla="*/ 0 h 6620205"/>
              <a:gd name="connsiteX2" fmla="*/ 8915642 w 8915642"/>
              <a:gd name="connsiteY2" fmla="*/ 6618551 h 6620205"/>
              <a:gd name="connsiteX3" fmla="*/ 579722 w 8915642"/>
              <a:gd name="connsiteY3" fmla="*/ 6620205 h 6620205"/>
              <a:gd name="connsiteX4" fmla="*/ 0 w 8915642"/>
              <a:gd name="connsiteY4" fmla="*/ 6040483 h 6620205"/>
              <a:gd name="connsiteX5" fmla="*/ 0 w 8915642"/>
              <a:gd name="connsiteY5" fmla="*/ 96656 h 6620205"/>
              <a:gd name="connsiteX0" fmla="*/ 0 w 8915642"/>
              <a:gd name="connsiteY0" fmla="*/ 0 h 6642302"/>
              <a:gd name="connsiteX1" fmla="*/ 6003473 w 8915642"/>
              <a:gd name="connsiteY1" fmla="*/ 22097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0 h 6642302"/>
              <a:gd name="connsiteX1" fmla="*/ 5932221 w 8915642"/>
              <a:gd name="connsiteY1" fmla="*/ 152725 h 6642302"/>
              <a:gd name="connsiteX2" fmla="*/ 8915642 w 8915642"/>
              <a:gd name="connsiteY2" fmla="*/ 6640648 h 6642302"/>
              <a:gd name="connsiteX3" fmla="*/ 579722 w 8915642"/>
              <a:gd name="connsiteY3" fmla="*/ 6642302 h 6642302"/>
              <a:gd name="connsiteX4" fmla="*/ 0 w 8915642"/>
              <a:gd name="connsiteY4" fmla="*/ 6062580 h 6642302"/>
              <a:gd name="connsiteX5" fmla="*/ 0 w 8915642"/>
              <a:gd name="connsiteY5" fmla="*/ 0 h 6642302"/>
              <a:gd name="connsiteX0" fmla="*/ 0 w 8915642"/>
              <a:gd name="connsiteY0" fmla="*/ 1654 h 6643956"/>
              <a:gd name="connsiteX1" fmla="*/ 6003473 w 8915642"/>
              <a:gd name="connsiteY1" fmla="*/ 0 h 6643956"/>
              <a:gd name="connsiteX2" fmla="*/ 8915642 w 8915642"/>
              <a:gd name="connsiteY2" fmla="*/ 6642302 h 6643956"/>
              <a:gd name="connsiteX3" fmla="*/ 579722 w 8915642"/>
              <a:gd name="connsiteY3" fmla="*/ 6643956 h 6643956"/>
              <a:gd name="connsiteX4" fmla="*/ 0 w 8915642"/>
              <a:gd name="connsiteY4" fmla="*/ 6064234 h 6643956"/>
              <a:gd name="connsiteX5" fmla="*/ 0 w 8915642"/>
              <a:gd name="connsiteY5" fmla="*/ 1654 h 6643956"/>
              <a:gd name="connsiteX0" fmla="*/ 0 w 6018062"/>
              <a:gd name="connsiteY0" fmla="*/ 1654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1654 h 6654178"/>
              <a:gd name="connsiteX0" fmla="*/ 0 w 6018062"/>
              <a:gd name="connsiteY0" fmla="*/ 203535 h 6654178"/>
              <a:gd name="connsiteX1" fmla="*/ 6003473 w 6018062"/>
              <a:gd name="connsiteY1" fmla="*/ 0 h 6654178"/>
              <a:gd name="connsiteX2" fmla="*/ 6018062 w 6018062"/>
              <a:gd name="connsiteY2" fmla="*/ 6654178 h 6654178"/>
              <a:gd name="connsiteX3" fmla="*/ 579722 w 6018062"/>
              <a:gd name="connsiteY3" fmla="*/ 6643956 h 6654178"/>
              <a:gd name="connsiteX4" fmla="*/ 0 w 6018062"/>
              <a:gd name="connsiteY4" fmla="*/ 6064234 h 6654178"/>
              <a:gd name="connsiteX5" fmla="*/ 0 w 6018062"/>
              <a:gd name="connsiteY5" fmla="*/ 203535 h 6654178"/>
              <a:gd name="connsiteX0" fmla="*/ 0 w 6018062"/>
              <a:gd name="connsiteY0" fmla="*/ 1655 h 6452298"/>
              <a:gd name="connsiteX1" fmla="*/ 4055920 w 6018062"/>
              <a:gd name="connsiteY1" fmla="*/ 0 h 6452298"/>
              <a:gd name="connsiteX2" fmla="*/ 6018062 w 6018062"/>
              <a:gd name="connsiteY2" fmla="*/ 6452298 h 6452298"/>
              <a:gd name="connsiteX3" fmla="*/ 579722 w 6018062"/>
              <a:gd name="connsiteY3" fmla="*/ 6442076 h 6452298"/>
              <a:gd name="connsiteX4" fmla="*/ 0 w 6018062"/>
              <a:gd name="connsiteY4" fmla="*/ 5862354 h 6452298"/>
              <a:gd name="connsiteX5" fmla="*/ 0 w 6018062"/>
              <a:gd name="connsiteY5" fmla="*/ 1655 h 6452298"/>
              <a:gd name="connsiteX0" fmla="*/ 0 w 4055973"/>
              <a:gd name="connsiteY0" fmla="*/ 1655 h 6452298"/>
              <a:gd name="connsiteX1" fmla="*/ 4055920 w 4055973"/>
              <a:gd name="connsiteY1" fmla="*/ 0 h 6452298"/>
              <a:gd name="connsiteX2" fmla="*/ 4046758 w 4055973"/>
              <a:gd name="connsiteY2" fmla="*/ 6452298 h 6452298"/>
              <a:gd name="connsiteX3" fmla="*/ 579722 w 4055973"/>
              <a:gd name="connsiteY3" fmla="*/ 6442076 h 6452298"/>
              <a:gd name="connsiteX4" fmla="*/ 0 w 4055973"/>
              <a:gd name="connsiteY4" fmla="*/ 5862354 h 6452298"/>
              <a:gd name="connsiteX5" fmla="*/ 0 w 4055973"/>
              <a:gd name="connsiteY5" fmla="*/ 1655 h 6452298"/>
              <a:gd name="connsiteX0" fmla="*/ 0 w 4055973"/>
              <a:gd name="connsiteY0" fmla="*/ 0 h 6652523"/>
              <a:gd name="connsiteX1" fmla="*/ 4055920 w 4055973"/>
              <a:gd name="connsiteY1" fmla="*/ 200225 h 6652523"/>
              <a:gd name="connsiteX2" fmla="*/ 4046758 w 4055973"/>
              <a:gd name="connsiteY2" fmla="*/ 6652523 h 6652523"/>
              <a:gd name="connsiteX3" fmla="*/ 579722 w 4055973"/>
              <a:gd name="connsiteY3" fmla="*/ 6642301 h 6652523"/>
              <a:gd name="connsiteX4" fmla="*/ 0 w 4055973"/>
              <a:gd name="connsiteY4" fmla="*/ 6062579 h 6652523"/>
              <a:gd name="connsiteX5" fmla="*/ 0 w 4055973"/>
              <a:gd name="connsiteY5" fmla="*/ 0 h 6652523"/>
              <a:gd name="connsiteX0" fmla="*/ 0 w 4046758"/>
              <a:gd name="connsiteY0" fmla="*/ 0 h 6652523"/>
              <a:gd name="connsiteX1" fmla="*/ 4044045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1655 h 6654178"/>
              <a:gd name="connsiteX1" fmla="*/ 3082144 w 4046758"/>
              <a:gd name="connsiteY1" fmla="*/ 0 h 6654178"/>
              <a:gd name="connsiteX2" fmla="*/ 4046758 w 4046758"/>
              <a:gd name="connsiteY2" fmla="*/ 6654178 h 6654178"/>
              <a:gd name="connsiteX3" fmla="*/ 579722 w 4046758"/>
              <a:gd name="connsiteY3" fmla="*/ 6643956 h 6654178"/>
              <a:gd name="connsiteX4" fmla="*/ 0 w 4046758"/>
              <a:gd name="connsiteY4" fmla="*/ 6064234 h 6654178"/>
              <a:gd name="connsiteX5" fmla="*/ 0 w 4046758"/>
              <a:gd name="connsiteY5" fmla="*/ 1655 h 6654178"/>
              <a:gd name="connsiteX0" fmla="*/ 0 w 4046758"/>
              <a:gd name="connsiteY0" fmla="*/ 0 h 6652523"/>
              <a:gd name="connsiteX1" fmla="*/ 2975266 w 4046758"/>
              <a:gd name="connsiteY1" fmla="*/ 93348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70268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4046758"/>
              <a:gd name="connsiteY0" fmla="*/ 0 h 6652523"/>
              <a:gd name="connsiteX1" fmla="*/ 3082144 w 4046758"/>
              <a:gd name="connsiteY1" fmla="*/ 10220 h 6652523"/>
              <a:gd name="connsiteX2" fmla="*/ 4046758 w 4046758"/>
              <a:gd name="connsiteY2" fmla="*/ 6652523 h 6652523"/>
              <a:gd name="connsiteX3" fmla="*/ 579722 w 4046758"/>
              <a:gd name="connsiteY3" fmla="*/ 6642301 h 6652523"/>
              <a:gd name="connsiteX4" fmla="*/ 0 w 4046758"/>
              <a:gd name="connsiteY4" fmla="*/ 6062579 h 6652523"/>
              <a:gd name="connsiteX5" fmla="*/ 0 w 4046758"/>
              <a:gd name="connsiteY5" fmla="*/ 0 h 6652523"/>
              <a:gd name="connsiteX0" fmla="*/ 0 w 3082197"/>
              <a:gd name="connsiteY0" fmla="*/ 0 h 6652523"/>
              <a:gd name="connsiteX1" fmla="*/ 3082144 w 3082197"/>
              <a:gd name="connsiteY1" fmla="*/ 10220 h 6652523"/>
              <a:gd name="connsiteX2" fmla="*/ 3072982 w 3082197"/>
              <a:gd name="connsiteY2" fmla="*/ 6652523 h 6652523"/>
              <a:gd name="connsiteX3" fmla="*/ 579722 w 3082197"/>
              <a:gd name="connsiteY3" fmla="*/ 6642301 h 6652523"/>
              <a:gd name="connsiteX4" fmla="*/ 0 w 3082197"/>
              <a:gd name="connsiteY4" fmla="*/ 6062579 h 6652523"/>
              <a:gd name="connsiteX5" fmla="*/ 0 w 3082197"/>
              <a:gd name="connsiteY5" fmla="*/ 0 h 6652523"/>
              <a:gd name="connsiteX0" fmla="*/ 0 w 3072982"/>
              <a:gd name="connsiteY0" fmla="*/ 0 h 6652523"/>
              <a:gd name="connsiteX1" fmla="*/ 3010892 w 3072982"/>
              <a:gd name="connsiteY1" fmla="*/ 164599 h 6652523"/>
              <a:gd name="connsiteX2" fmla="*/ 3072982 w 3072982"/>
              <a:gd name="connsiteY2" fmla="*/ 6652523 h 6652523"/>
              <a:gd name="connsiteX3" fmla="*/ 579722 w 3072982"/>
              <a:gd name="connsiteY3" fmla="*/ 6642301 h 6652523"/>
              <a:gd name="connsiteX4" fmla="*/ 0 w 3072982"/>
              <a:gd name="connsiteY4" fmla="*/ 6062579 h 6652523"/>
              <a:gd name="connsiteX5" fmla="*/ 0 w 3072982"/>
              <a:gd name="connsiteY5" fmla="*/ 0 h 6652523"/>
              <a:gd name="connsiteX0" fmla="*/ 0 w 3082197"/>
              <a:gd name="connsiteY0" fmla="*/ 1656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656 h 6654179"/>
              <a:gd name="connsiteX0" fmla="*/ 0 w 3082197"/>
              <a:gd name="connsiteY0" fmla="*/ 1316107 h 6654179"/>
              <a:gd name="connsiteX1" fmla="*/ 3082144 w 3082197"/>
              <a:gd name="connsiteY1" fmla="*/ 0 h 6654179"/>
              <a:gd name="connsiteX2" fmla="*/ 3072982 w 3082197"/>
              <a:gd name="connsiteY2" fmla="*/ 6654179 h 6654179"/>
              <a:gd name="connsiteX3" fmla="*/ 579722 w 3082197"/>
              <a:gd name="connsiteY3" fmla="*/ 6643957 h 6654179"/>
              <a:gd name="connsiteX4" fmla="*/ 0 w 3082197"/>
              <a:gd name="connsiteY4" fmla="*/ 6064235 h 6654179"/>
              <a:gd name="connsiteX5" fmla="*/ 0 w 3082197"/>
              <a:gd name="connsiteY5" fmla="*/ 1316107 h 6654179"/>
              <a:gd name="connsiteX0" fmla="*/ 0 w 3082197"/>
              <a:gd name="connsiteY0" fmla="*/ 1657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1657 h 5339729"/>
              <a:gd name="connsiteX0" fmla="*/ 0 w 3082197"/>
              <a:gd name="connsiteY0" fmla="*/ 2202416 h 5339729"/>
              <a:gd name="connsiteX1" fmla="*/ 3082144 w 3082197"/>
              <a:gd name="connsiteY1" fmla="*/ 0 h 5339729"/>
              <a:gd name="connsiteX2" fmla="*/ 3072982 w 3082197"/>
              <a:gd name="connsiteY2" fmla="*/ 5339729 h 5339729"/>
              <a:gd name="connsiteX3" fmla="*/ 579722 w 3082197"/>
              <a:gd name="connsiteY3" fmla="*/ 5329507 h 5339729"/>
              <a:gd name="connsiteX4" fmla="*/ 0 w 3082197"/>
              <a:gd name="connsiteY4" fmla="*/ 4749785 h 5339729"/>
              <a:gd name="connsiteX5" fmla="*/ 0 w 3082197"/>
              <a:gd name="connsiteY5" fmla="*/ 2202416 h 5339729"/>
              <a:gd name="connsiteX0" fmla="*/ 0 w 3082197"/>
              <a:gd name="connsiteY0" fmla="*/ 1656 h 3138969"/>
              <a:gd name="connsiteX1" fmla="*/ 3082144 w 3082197"/>
              <a:gd name="connsiteY1" fmla="*/ 0 h 3138969"/>
              <a:gd name="connsiteX2" fmla="*/ 3072982 w 3082197"/>
              <a:gd name="connsiteY2" fmla="*/ 3138969 h 3138969"/>
              <a:gd name="connsiteX3" fmla="*/ 579722 w 3082197"/>
              <a:gd name="connsiteY3" fmla="*/ 3128747 h 3138969"/>
              <a:gd name="connsiteX4" fmla="*/ 0 w 3082197"/>
              <a:gd name="connsiteY4" fmla="*/ 2549025 h 3138969"/>
              <a:gd name="connsiteX5" fmla="*/ 0 w 3082197"/>
              <a:gd name="connsiteY5" fmla="*/ 1656 h 3138969"/>
              <a:gd name="connsiteX0" fmla="*/ 0 w 3082145"/>
              <a:gd name="connsiteY0" fmla="*/ 1656 h 3150544"/>
              <a:gd name="connsiteX1" fmla="*/ 3082144 w 3082145"/>
              <a:gd name="connsiteY1" fmla="*/ 0 h 3150544"/>
              <a:gd name="connsiteX2" fmla="*/ 2772041 w 3082145"/>
              <a:gd name="connsiteY2" fmla="*/ 3150544 h 3150544"/>
              <a:gd name="connsiteX3" fmla="*/ 579722 w 3082145"/>
              <a:gd name="connsiteY3" fmla="*/ 3128747 h 3150544"/>
              <a:gd name="connsiteX4" fmla="*/ 0 w 3082145"/>
              <a:gd name="connsiteY4" fmla="*/ 2549025 h 3150544"/>
              <a:gd name="connsiteX5" fmla="*/ 0 w 3082145"/>
              <a:gd name="connsiteY5" fmla="*/ 1656 h 3150544"/>
              <a:gd name="connsiteX0" fmla="*/ 0 w 2772041"/>
              <a:gd name="connsiteY0" fmla="*/ 1656 h 3150544"/>
              <a:gd name="connsiteX1" fmla="*/ 2769627 w 2772041"/>
              <a:gd name="connsiteY1" fmla="*/ 0 h 3150544"/>
              <a:gd name="connsiteX2" fmla="*/ 2772041 w 2772041"/>
              <a:gd name="connsiteY2" fmla="*/ 3150544 h 3150544"/>
              <a:gd name="connsiteX3" fmla="*/ 579722 w 2772041"/>
              <a:gd name="connsiteY3" fmla="*/ 3128747 h 3150544"/>
              <a:gd name="connsiteX4" fmla="*/ 0 w 2772041"/>
              <a:gd name="connsiteY4" fmla="*/ 2549025 h 3150544"/>
              <a:gd name="connsiteX5" fmla="*/ 0 w 2772041"/>
              <a:gd name="connsiteY5" fmla="*/ 1656 h 3150544"/>
              <a:gd name="connsiteX0" fmla="*/ 0 w 2772041"/>
              <a:gd name="connsiteY0" fmla="*/ 1656 h 3138969"/>
              <a:gd name="connsiteX1" fmla="*/ 2769627 w 2772041"/>
              <a:gd name="connsiteY1" fmla="*/ 0 h 3138969"/>
              <a:gd name="connsiteX2" fmla="*/ 2772041 w 2772041"/>
              <a:gd name="connsiteY2" fmla="*/ 3138969 h 3138969"/>
              <a:gd name="connsiteX3" fmla="*/ 579722 w 2772041"/>
              <a:gd name="connsiteY3" fmla="*/ 3128747 h 3138969"/>
              <a:gd name="connsiteX4" fmla="*/ 0 w 2772041"/>
              <a:gd name="connsiteY4" fmla="*/ 2549025 h 3138969"/>
              <a:gd name="connsiteX5" fmla="*/ 0 w 2772041"/>
              <a:gd name="connsiteY5" fmla="*/ 1656 h 313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2041" h="3138969">
                <a:moveTo>
                  <a:pt x="0" y="1656"/>
                </a:moveTo>
                <a:lnTo>
                  <a:pt x="2769627" y="0"/>
                </a:lnTo>
                <a:cubicBezTo>
                  <a:pt x="2770532" y="2146807"/>
                  <a:pt x="2771136" y="992162"/>
                  <a:pt x="2772041" y="3138969"/>
                </a:cubicBezTo>
                <a:lnTo>
                  <a:pt x="579722" y="3128747"/>
                </a:lnTo>
                <a:cubicBezTo>
                  <a:pt x="259550" y="3128747"/>
                  <a:pt x="0" y="2869197"/>
                  <a:pt x="0" y="2549025"/>
                </a:cubicBezTo>
                <a:lnTo>
                  <a:pt x="0" y="1656"/>
                </a:ln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/Text Block</a:t>
            </a:r>
          </a:p>
          <a:p>
            <a:endParaRPr lang="en-US" dirty="0"/>
          </a:p>
          <a:p>
            <a:endParaRPr lang="en-JP" dirty="0"/>
          </a:p>
        </p:txBody>
      </p:sp>
      <p:sp>
        <p:nvSpPr>
          <p:cNvPr id="18" name="タイトル プレースホルダ 1">
            <a:extLst>
              <a:ext uri="{FF2B5EF4-FFF2-40B4-BE49-F238E27FC236}">
                <a16:creationId xmlns:a16="http://schemas.microsoft.com/office/drawing/2014/main" id="{4FBB8310-69E6-7C4E-A4B1-C022B6FEE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4EF39473-C435-3C4E-9C7B-048D52C3CC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 </a:t>
            </a:r>
            <a:endParaRPr lang="en-JP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FEF9AE6-D84E-9F43-9506-6676EC51B210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8" name="スライド番号プレースホルダ 5">
            <a:extLst>
              <a:ext uri="{FF2B5EF4-FFF2-40B4-BE49-F238E27FC236}">
                <a16:creationId xmlns:a16="http://schemas.microsoft.com/office/drawing/2014/main" id="{F964ADE6-9B0D-EC45-959C-FEEA5CDDFB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70D8562-3CE7-7044-9BB0-2068A81BF5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9C450B-0755-7D4A-9672-E700D6F2E5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705B1BEB-AC9F-9643-A446-ABE1DDB961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AB5757F-4614-A11F-6F2E-56294C4AC9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114049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11571628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75E45CD2-2EBD-AE47-837E-9F752C565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17" name="Footer Placeholder 8">
            <a:extLst>
              <a:ext uri="{FF2B5EF4-FFF2-40B4-BE49-F238E27FC236}">
                <a16:creationId xmlns:a16="http://schemas.microsoft.com/office/drawing/2014/main" id="{2DC26CE8-1DEF-EE42-861C-B0406E8DC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36966D-3DF0-4D41-9D26-4860D147F80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3" name="スライド番号プレースホルダ 5">
            <a:extLst>
              <a:ext uri="{FF2B5EF4-FFF2-40B4-BE49-F238E27FC236}">
                <a16:creationId xmlns:a16="http://schemas.microsoft.com/office/drawing/2014/main" id="{600920FB-2D44-F645-865D-89FFECB095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7DE8F7E-1418-1C4C-A62B-2385714992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28A960D-6A45-6744-9BDB-7070B443CC6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1493179-5EA4-604B-A9DF-BDA818F01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1B883E1-D3D7-D696-4550-2403C20C6C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790208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>
            <a:extLst>
              <a:ext uri="{FF2B5EF4-FFF2-40B4-BE49-F238E27FC236}">
                <a16:creationId xmlns:a16="http://schemas.microsoft.com/office/drawing/2014/main" id="{82B9CECE-7D8F-8C4A-AFC6-A963B1F05594}"/>
              </a:ext>
            </a:extLst>
          </p:cNvPr>
          <p:cNvSpPr/>
          <p:nvPr userDrawn="1"/>
        </p:nvSpPr>
        <p:spPr>
          <a:xfrm>
            <a:off x="0" y="61263"/>
            <a:ext cx="255181" cy="8490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chemeClr val="accent1"/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1E79114-5B74-9547-8292-DAB8965D43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005" y="506"/>
            <a:ext cx="11459359" cy="3428494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64472"/>
              <a:gd name="connsiteY0" fmla="*/ 0 h 6630428"/>
              <a:gd name="connsiteX1" fmla="*/ 11864472 w 11864472"/>
              <a:gd name="connsiteY1" fmla="*/ 188353 h 6630428"/>
              <a:gd name="connsiteX2" fmla="*/ 11855613 w 11864472"/>
              <a:gd name="connsiteY2" fmla="*/ 6628774 h 6630428"/>
              <a:gd name="connsiteX3" fmla="*/ 579722 w 11864472"/>
              <a:gd name="connsiteY3" fmla="*/ 6630428 h 6630428"/>
              <a:gd name="connsiteX4" fmla="*/ 0 w 11864472"/>
              <a:gd name="connsiteY4" fmla="*/ 6050706 h 6630428"/>
              <a:gd name="connsiteX5" fmla="*/ 0 w 11864472"/>
              <a:gd name="connsiteY5" fmla="*/ 0 h 6630428"/>
              <a:gd name="connsiteX0" fmla="*/ 0 w 11864472"/>
              <a:gd name="connsiteY0" fmla="*/ 13527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527 h 6643955"/>
              <a:gd name="connsiteX0" fmla="*/ 0 w 11864472"/>
              <a:gd name="connsiteY0" fmla="*/ 1319813 h 6643955"/>
              <a:gd name="connsiteX1" fmla="*/ 11864472 w 11864472"/>
              <a:gd name="connsiteY1" fmla="*/ 0 h 6643955"/>
              <a:gd name="connsiteX2" fmla="*/ 11855613 w 11864472"/>
              <a:gd name="connsiteY2" fmla="*/ 6642301 h 6643955"/>
              <a:gd name="connsiteX3" fmla="*/ 579722 w 11864472"/>
              <a:gd name="connsiteY3" fmla="*/ 6643955 h 6643955"/>
              <a:gd name="connsiteX4" fmla="*/ 0 w 11864472"/>
              <a:gd name="connsiteY4" fmla="*/ 6064233 h 6643955"/>
              <a:gd name="connsiteX5" fmla="*/ 0 w 11864472"/>
              <a:gd name="connsiteY5" fmla="*/ 1319813 h 6643955"/>
              <a:gd name="connsiteX0" fmla="*/ 0 w 11864472"/>
              <a:gd name="connsiteY0" fmla="*/ 135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3527 h 5337669"/>
              <a:gd name="connsiteX0" fmla="*/ 0 w 11864472"/>
              <a:gd name="connsiteY0" fmla="*/ 1652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1652 h 5337669"/>
              <a:gd name="connsiteX0" fmla="*/ 0 w 11864472"/>
              <a:gd name="connsiteY0" fmla="*/ 2201927 h 5337669"/>
              <a:gd name="connsiteX1" fmla="*/ 11864472 w 11864472"/>
              <a:gd name="connsiteY1" fmla="*/ 0 h 5337669"/>
              <a:gd name="connsiteX2" fmla="*/ 11855613 w 11864472"/>
              <a:gd name="connsiteY2" fmla="*/ 5336015 h 5337669"/>
              <a:gd name="connsiteX3" fmla="*/ 579722 w 11864472"/>
              <a:gd name="connsiteY3" fmla="*/ 5337669 h 5337669"/>
              <a:gd name="connsiteX4" fmla="*/ 0 w 11864472"/>
              <a:gd name="connsiteY4" fmla="*/ 4757947 h 5337669"/>
              <a:gd name="connsiteX5" fmla="*/ 0 w 11864472"/>
              <a:gd name="connsiteY5" fmla="*/ 2201927 h 5337669"/>
              <a:gd name="connsiteX0" fmla="*/ 0 w 11864472"/>
              <a:gd name="connsiteY0" fmla="*/ 1652 h 3137394"/>
              <a:gd name="connsiteX1" fmla="*/ 11864472 w 11864472"/>
              <a:gd name="connsiteY1" fmla="*/ 0 h 3137394"/>
              <a:gd name="connsiteX2" fmla="*/ 11855613 w 11864472"/>
              <a:gd name="connsiteY2" fmla="*/ 3135740 h 3137394"/>
              <a:gd name="connsiteX3" fmla="*/ 579722 w 11864472"/>
              <a:gd name="connsiteY3" fmla="*/ 3137394 h 3137394"/>
              <a:gd name="connsiteX4" fmla="*/ 0 w 11864472"/>
              <a:gd name="connsiteY4" fmla="*/ 2557672 h 3137394"/>
              <a:gd name="connsiteX5" fmla="*/ 0 w 11864472"/>
              <a:gd name="connsiteY5" fmla="*/ 1652 h 3137394"/>
              <a:gd name="connsiteX0" fmla="*/ 0 w 11864472"/>
              <a:gd name="connsiteY0" fmla="*/ 0 h 3420555"/>
              <a:gd name="connsiteX1" fmla="*/ 11864472 w 11864472"/>
              <a:gd name="connsiteY1" fmla="*/ 283161 h 3420555"/>
              <a:gd name="connsiteX2" fmla="*/ 11855613 w 11864472"/>
              <a:gd name="connsiteY2" fmla="*/ 3418901 h 3420555"/>
              <a:gd name="connsiteX3" fmla="*/ 579722 w 11864472"/>
              <a:gd name="connsiteY3" fmla="*/ 3420555 h 3420555"/>
              <a:gd name="connsiteX4" fmla="*/ 0 w 11864472"/>
              <a:gd name="connsiteY4" fmla="*/ 2840833 h 3420555"/>
              <a:gd name="connsiteX5" fmla="*/ 0 w 11864472"/>
              <a:gd name="connsiteY5" fmla="*/ 0 h 3420555"/>
              <a:gd name="connsiteX0" fmla="*/ 0 w 11864472"/>
              <a:gd name="connsiteY0" fmla="*/ 1652 h 3422207"/>
              <a:gd name="connsiteX1" fmla="*/ 11864472 w 11864472"/>
              <a:gd name="connsiteY1" fmla="*/ 0 h 3422207"/>
              <a:gd name="connsiteX2" fmla="*/ 11855613 w 11864472"/>
              <a:gd name="connsiteY2" fmla="*/ 3420553 h 3422207"/>
              <a:gd name="connsiteX3" fmla="*/ 579722 w 11864472"/>
              <a:gd name="connsiteY3" fmla="*/ 3422207 h 3422207"/>
              <a:gd name="connsiteX4" fmla="*/ 0 w 11864472"/>
              <a:gd name="connsiteY4" fmla="*/ 2842485 h 3422207"/>
              <a:gd name="connsiteX5" fmla="*/ 0 w 11864472"/>
              <a:gd name="connsiteY5" fmla="*/ 1652 h 3422207"/>
              <a:gd name="connsiteX0" fmla="*/ 0 w 11855613"/>
              <a:gd name="connsiteY0" fmla="*/ 0 h 3420555"/>
              <a:gd name="connsiteX1" fmla="*/ 11834492 w 11855613"/>
              <a:gd name="connsiteY1" fmla="*/ 58309 h 3420555"/>
              <a:gd name="connsiteX2" fmla="*/ 11855613 w 11855613"/>
              <a:gd name="connsiteY2" fmla="*/ 3418901 h 3420555"/>
              <a:gd name="connsiteX3" fmla="*/ 579722 w 11855613"/>
              <a:gd name="connsiteY3" fmla="*/ 3420555 h 3420555"/>
              <a:gd name="connsiteX4" fmla="*/ 0 w 11855613"/>
              <a:gd name="connsiteY4" fmla="*/ 2840833 h 3420555"/>
              <a:gd name="connsiteX5" fmla="*/ 0 w 11855613"/>
              <a:gd name="connsiteY5" fmla="*/ 0 h 3420555"/>
              <a:gd name="connsiteX0" fmla="*/ 0 w 11855613"/>
              <a:gd name="connsiteY0" fmla="*/ 1652 h 3362246"/>
              <a:gd name="connsiteX1" fmla="*/ 11834492 w 11855613"/>
              <a:gd name="connsiteY1" fmla="*/ 0 h 3362246"/>
              <a:gd name="connsiteX2" fmla="*/ 11855613 w 11855613"/>
              <a:gd name="connsiteY2" fmla="*/ 3360592 h 3362246"/>
              <a:gd name="connsiteX3" fmla="*/ 579722 w 11855613"/>
              <a:gd name="connsiteY3" fmla="*/ 3362246 h 3362246"/>
              <a:gd name="connsiteX4" fmla="*/ 0 w 11855613"/>
              <a:gd name="connsiteY4" fmla="*/ 2782524 h 3362246"/>
              <a:gd name="connsiteX5" fmla="*/ 0 w 11855613"/>
              <a:gd name="connsiteY5" fmla="*/ 1652 h 3362246"/>
              <a:gd name="connsiteX0" fmla="*/ 0 w 11864473"/>
              <a:gd name="connsiteY0" fmla="*/ 0 h 3360594"/>
              <a:gd name="connsiteX1" fmla="*/ 11864473 w 11864473"/>
              <a:gd name="connsiteY1" fmla="*/ 13338 h 3360594"/>
              <a:gd name="connsiteX2" fmla="*/ 11855613 w 11864473"/>
              <a:gd name="connsiteY2" fmla="*/ 3358940 h 3360594"/>
              <a:gd name="connsiteX3" fmla="*/ 579722 w 11864473"/>
              <a:gd name="connsiteY3" fmla="*/ 3360594 h 3360594"/>
              <a:gd name="connsiteX4" fmla="*/ 0 w 11864473"/>
              <a:gd name="connsiteY4" fmla="*/ 2780872 h 3360594"/>
              <a:gd name="connsiteX5" fmla="*/ 0 w 11864473"/>
              <a:gd name="connsiteY5" fmla="*/ 0 h 3360594"/>
              <a:gd name="connsiteX0" fmla="*/ 0 w 11864473"/>
              <a:gd name="connsiteY0" fmla="*/ 1652 h 3362246"/>
              <a:gd name="connsiteX1" fmla="*/ 11864473 w 11864473"/>
              <a:gd name="connsiteY1" fmla="*/ 0 h 3362246"/>
              <a:gd name="connsiteX2" fmla="*/ 11855613 w 11864473"/>
              <a:gd name="connsiteY2" fmla="*/ 3360592 h 3362246"/>
              <a:gd name="connsiteX3" fmla="*/ 579722 w 11864473"/>
              <a:gd name="connsiteY3" fmla="*/ 3362246 h 3362246"/>
              <a:gd name="connsiteX4" fmla="*/ 0 w 11864473"/>
              <a:gd name="connsiteY4" fmla="*/ 2782524 h 3362246"/>
              <a:gd name="connsiteX5" fmla="*/ 0 w 11864473"/>
              <a:gd name="connsiteY5" fmla="*/ 1652 h 3362246"/>
              <a:gd name="connsiteX0" fmla="*/ 0 w 11855629"/>
              <a:gd name="connsiteY0" fmla="*/ 1652 h 3362246"/>
              <a:gd name="connsiteX1" fmla="*/ 11459359 w 11855629"/>
              <a:gd name="connsiteY1" fmla="*/ 0 h 3362246"/>
              <a:gd name="connsiteX2" fmla="*/ 11855613 w 11855629"/>
              <a:gd name="connsiteY2" fmla="*/ 3360592 h 3362246"/>
              <a:gd name="connsiteX3" fmla="*/ 579722 w 11855629"/>
              <a:gd name="connsiteY3" fmla="*/ 3362246 h 3362246"/>
              <a:gd name="connsiteX4" fmla="*/ 0 w 11855629"/>
              <a:gd name="connsiteY4" fmla="*/ 2782524 h 3362246"/>
              <a:gd name="connsiteX5" fmla="*/ 0 w 11855629"/>
              <a:gd name="connsiteY5" fmla="*/ 1652 h 3362246"/>
              <a:gd name="connsiteX0" fmla="*/ 0 w 11459359"/>
              <a:gd name="connsiteY0" fmla="*/ 1652 h 3362246"/>
              <a:gd name="connsiteX1" fmla="*/ 11459359 w 11459359"/>
              <a:gd name="connsiteY1" fmla="*/ 0 h 3362246"/>
              <a:gd name="connsiteX2" fmla="*/ 11438924 w 11459359"/>
              <a:gd name="connsiteY2" fmla="*/ 3360592 h 3362246"/>
              <a:gd name="connsiteX3" fmla="*/ 579722 w 11459359"/>
              <a:gd name="connsiteY3" fmla="*/ 3362246 h 3362246"/>
              <a:gd name="connsiteX4" fmla="*/ 0 w 11459359"/>
              <a:gd name="connsiteY4" fmla="*/ 2782524 h 3362246"/>
              <a:gd name="connsiteX5" fmla="*/ 0 w 11459359"/>
              <a:gd name="connsiteY5" fmla="*/ 1652 h 3362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59359" h="3362246">
                <a:moveTo>
                  <a:pt x="0" y="1652"/>
                </a:moveTo>
                <a:lnTo>
                  <a:pt x="11459359" y="0"/>
                </a:lnTo>
                <a:cubicBezTo>
                  <a:pt x="11456406" y="1115201"/>
                  <a:pt x="11441877" y="2245391"/>
                  <a:pt x="11438924" y="3360592"/>
                </a:cubicBezTo>
                <a:lnTo>
                  <a:pt x="579722" y="3362246"/>
                </a:lnTo>
                <a:cubicBezTo>
                  <a:pt x="259550" y="3362246"/>
                  <a:pt x="0" y="3102696"/>
                  <a:pt x="0" y="2782524"/>
                </a:cubicBezTo>
                <a:lnTo>
                  <a:pt x="0" y="1652"/>
                </a:lnTo>
                <a:close/>
              </a:path>
            </a:pathLst>
          </a:custGeom>
          <a:noFill/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JP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F5E8E0A-41D4-8346-9248-0B9AAC7123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3956816"/>
            <a:ext cx="7699670" cy="1015681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rgbClr val="2A419A"/>
                </a:solidFill>
                <a:latin typeface="HelveticaNeueLT Pro 75 Bd" panose="020B080402020202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</a:t>
            </a:r>
            <a:br>
              <a:rPr lang="en-GB" dirty="0"/>
            </a:br>
            <a:r>
              <a:rPr lang="en-GB" dirty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A63B8E-5554-A04E-B4C5-97ECEE58B6CC}"/>
              </a:ext>
            </a:extLst>
          </p:cNvPr>
          <p:cNvSpPr/>
          <p:nvPr userDrawn="1"/>
        </p:nvSpPr>
        <p:spPr>
          <a:xfrm>
            <a:off x="749005" y="3764031"/>
            <a:ext cx="97200" cy="2707182"/>
          </a:xfrm>
          <a:prstGeom prst="rect">
            <a:avLst/>
          </a:prstGeom>
          <a:solidFill>
            <a:srgbClr val="2A4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7327E43-4F43-914D-BE65-DB0ADB5A5E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94728" y="5256031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23AA60-6137-8841-B2ED-51B2F2E5C1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94728" y="5515045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B4FEAB2-22C6-3446-B4D2-5B610A729B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94728" y="5769532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085F378-E668-A648-B7B1-8C76C309ED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94728" y="4997510"/>
            <a:ext cx="7699670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1E31EF6-BED5-C14F-94AD-4E5C55B855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8" y="6027352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>
                <a:solidFill>
                  <a:srgbClr val="0E1D42"/>
                </a:solidFill>
                <a:latin typeface="HelveticaNeueLT Pro 35 Th" panose="020B0403020202020204" pitchFamily="34" charset="0"/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2C8C591-D431-9E00-226A-31E0AB4873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5357" y="3956815"/>
            <a:ext cx="2915410" cy="899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9379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4065" userDrawn="1">
          <p15:clr>
            <a:srgbClr val="FBAE40"/>
          </p15:clr>
        </p15:guide>
        <p15:guide id="2" orient="horz" pos="2364" userDrawn="1">
          <p15:clr>
            <a:srgbClr val="FBAE40"/>
          </p15:clr>
        </p15:guide>
        <p15:guide id="3" orient="horz" pos="216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4227225" y="1093767"/>
            <a:ext cx="7653625" cy="53229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F65D74B-37DA-0D46-8B56-9B362C84E6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3751966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BF5F6A26-5AAA-884F-A319-DE988153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3751966" cy="2840771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</a:t>
            </a:r>
          </a:p>
        </p:txBody>
      </p:sp>
      <p:sp>
        <p:nvSpPr>
          <p:cNvPr id="13" name="タイトル プレースホルダ 1">
            <a:extLst>
              <a:ext uri="{FF2B5EF4-FFF2-40B4-BE49-F238E27FC236}">
                <a16:creationId xmlns:a16="http://schemas.microsoft.com/office/drawing/2014/main" id="{2256F400-EDA8-7F44-BF13-278518497C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15" name="Footer Placeholder 8">
            <a:extLst>
              <a:ext uri="{FF2B5EF4-FFF2-40B4-BE49-F238E27FC236}">
                <a16:creationId xmlns:a16="http://schemas.microsoft.com/office/drawing/2014/main" id="{7136781B-A49B-0A42-B748-01C379A12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C2B0AC-7801-6C42-BA03-0669DC118159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4" name="スライド番号プレースホルダ 5">
            <a:extLst>
              <a:ext uri="{FF2B5EF4-FFF2-40B4-BE49-F238E27FC236}">
                <a16:creationId xmlns:a16="http://schemas.microsoft.com/office/drawing/2014/main" id="{71FCF96E-3BB8-0745-B029-6B6BE42912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875659DC-941F-AA40-8336-C3B1BF32BA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5375A5A-6A84-7145-B49C-982F846194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3"/>
            <a:ext cx="3751965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F7E9041-544E-3547-AC30-65F55E91E1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1150" y="1093767"/>
            <a:ext cx="3751965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2009143-D0AD-A112-343F-8C57DAB6CF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941942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3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9" name="Chart Placeholder 7">
            <a:extLst>
              <a:ext uri="{FF2B5EF4-FFF2-40B4-BE49-F238E27FC236}">
                <a16:creationId xmlns:a16="http://schemas.microsoft.com/office/drawing/2014/main" id="{F1FC7466-185A-8B44-ABF0-5410C1127700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6206170" y="3076286"/>
            <a:ext cx="5708650" cy="3340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2" name="タイトル プレースホルダ 1">
            <a:extLst>
              <a:ext uri="{FF2B5EF4-FFF2-40B4-BE49-F238E27FC236}">
                <a16:creationId xmlns:a16="http://schemas.microsoft.com/office/drawing/2014/main" id="{906CE02B-33D8-B048-A73D-781A3402C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C2587943-8F51-3542-B7BE-578171944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679FB0B-7616-F04F-9B4C-586869A82E96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8AFBB1AB-19B7-1347-93F8-D14235DD23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1C168495-CA79-E440-A93B-B87B3674835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6F06E4B-A978-4E46-AE6C-67B54F7E34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60366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FF373A1-4E48-6C48-A075-153436CF76D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1149" y="1093767"/>
            <a:ext cx="1160366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61312CC-96B5-1CF7-2782-4724376E37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561364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Char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6D4E593-FDCC-D14E-9C5E-5F309E415C26}"/>
              </a:ext>
            </a:extLst>
          </p:cNvPr>
          <p:cNvSpPr>
            <a:spLocks noGrp="1"/>
          </p:cNvSpPr>
          <p:nvPr>
            <p:ph type="chart" sz="quarter" idx="21" hasCustomPrompt="1"/>
          </p:nvPr>
        </p:nvSpPr>
        <p:spPr>
          <a:xfrm>
            <a:off x="309224" y="3076286"/>
            <a:ext cx="3757810" cy="3340389"/>
          </a:xfrm>
          <a:prstGeom prst="rect">
            <a:avLst/>
          </a:prstGeom>
          <a:solidFill>
            <a:srgbClr val="32AEA4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0" name="Chart Placeholder 7">
            <a:extLst>
              <a:ext uri="{FF2B5EF4-FFF2-40B4-BE49-F238E27FC236}">
                <a16:creationId xmlns:a16="http://schemas.microsoft.com/office/drawing/2014/main" id="{8D9BD23C-1777-C442-B4B0-BADF450483EA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4217095" y="3076286"/>
            <a:ext cx="3757810" cy="3340389"/>
          </a:xfrm>
          <a:prstGeom prst="rect">
            <a:avLst/>
          </a:prstGeom>
          <a:solidFill>
            <a:srgbClr val="00B1D3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1" name="Chart Placeholder 7">
            <a:extLst>
              <a:ext uri="{FF2B5EF4-FFF2-40B4-BE49-F238E27FC236}">
                <a16:creationId xmlns:a16="http://schemas.microsoft.com/office/drawing/2014/main" id="{2D7D413C-2FF1-204A-83C6-B7426603B7C2}"/>
              </a:ext>
            </a:extLst>
          </p:cNvPr>
          <p:cNvSpPr>
            <a:spLocks noGrp="1"/>
          </p:cNvSpPr>
          <p:nvPr>
            <p:ph type="chart" sz="quarter" idx="23" hasCustomPrompt="1"/>
          </p:nvPr>
        </p:nvSpPr>
        <p:spPr>
          <a:xfrm>
            <a:off x="8123041" y="3076286"/>
            <a:ext cx="3757810" cy="3340389"/>
          </a:xfrm>
          <a:prstGeom prst="rect">
            <a:avLst/>
          </a:prstGeom>
          <a:solidFill>
            <a:srgbClr val="2A419A"/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JP" dirty="0"/>
              <a:t>Insert Chart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2FFB1535-D35E-D242-B225-DDF1C53BB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47DB5E3C-7053-3645-A234-760F5ED12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C8CB7-67E9-8A46-B53F-F34ACE18BE87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5" name="スライド番号プレースホルダ 5">
            <a:extLst>
              <a:ext uri="{FF2B5EF4-FFF2-40B4-BE49-F238E27FC236}">
                <a16:creationId xmlns:a16="http://schemas.microsoft.com/office/drawing/2014/main" id="{5EB1023E-4E73-AD49-83B0-D7B458250C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942DB0C-137A-4E4C-B926-77CEECC512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D1171B1-AEC6-164D-8FE0-E0B9353A55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0" y="1491373"/>
            <a:ext cx="11569699" cy="1464957"/>
          </a:xfrm>
        </p:spPr>
        <p:txBody>
          <a:bodyPr tIns="0" rIns="0" bIns="0" numCol="2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7068" indent="0">
              <a:buNone/>
              <a:defRPr sz="1800" b="1"/>
            </a:lvl2pPr>
            <a:lvl3pPr marL="914149" indent="0">
              <a:buNone/>
              <a:defRPr sz="1800" b="1"/>
            </a:lvl3pPr>
            <a:lvl4pPr marL="1371219" indent="0">
              <a:buNone/>
              <a:defRPr sz="1800" b="1"/>
            </a:lvl4pPr>
            <a:lvl5pPr marL="1828290" indent="0">
              <a:buNone/>
              <a:defRPr sz="1800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6C4AA1F-8B09-5544-9C70-388A6E294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1149" y="1093767"/>
            <a:ext cx="11569699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 b="1">
                <a:solidFill>
                  <a:srgbClr val="2A419A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9DD2AA5-D521-692D-83B5-EF6D76BC2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92908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7D5187-BBB2-E849-9972-6EEB394C9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313691"/>
              </p:ext>
            </p:extLst>
          </p:nvPr>
        </p:nvGraphicFramePr>
        <p:xfrm>
          <a:off x="1590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" name="think-cell スライド" r:id="rId4" imgW="7772400" imgH="10058400" progId="TCLayout.ActiveDocument.1">
                  <p:embed/>
                </p:oleObj>
              </mc:Choice>
              <mc:Fallback>
                <p:oleObj name="think-cell スライド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7D5187-BBB2-E849-9972-6EEB394C9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1216315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bg>
      <p:bgPr>
        <a:blipFill dpi="0" rotWithShape="1">
          <a:blip r:embed="rId4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7D5187-BBB2-E849-9972-6EEB394C9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313691"/>
              </p:ext>
            </p:extLst>
          </p:nvPr>
        </p:nvGraphicFramePr>
        <p:xfrm>
          <a:off x="1590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" name="think-cell スライド" r:id="rId5" imgW="7772400" imgH="10058400" progId="TCLayout.ActiveDocument.1">
                  <p:embed/>
                </p:oleObj>
              </mc:Choice>
              <mc:Fallback>
                <p:oleObj name="think-cell スライド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7D5187-BBB2-E849-9972-6EEB394C9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86145678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blipFill dpi="0" rotWithShape="1">
          <a:blip r:embed="rId4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7D5187-BBB2-E849-9972-6EEB394C9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313691"/>
              </p:ext>
            </p:extLst>
          </p:nvPr>
        </p:nvGraphicFramePr>
        <p:xfrm>
          <a:off x="1590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" name="think-cell スライド" r:id="rId5" imgW="7772400" imgH="10058400" progId="TCLayout.ActiveDocument.1">
                  <p:embed/>
                </p:oleObj>
              </mc:Choice>
              <mc:Fallback>
                <p:oleObj name="think-cell スライド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7D5187-BBB2-E849-9972-6EEB394C9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21253960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blipFill dpi="0" rotWithShape="1">
          <a:blip r:embed="rId4">
            <a:lum/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7D5187-BBB2-E849-9972-6EEB394C9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313691"/>
              </p:ext>
            </p:extLst>
          </p:nvPr>
        </p:nvGraphicFramePr>
        <p:xfrm>
          <a:off x="1590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1" name="think-cell スライド" r:id="rId5" imgW="7772400" imgH="10058400" progId="TCLayout.ActiveDocument.1">
                  <p:embed/>
                </p:oleObj>
              </mc:Choice>
              <mc:Fallback>
                <p:oleObj name="think-cell スライド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7D5187-BBB2-E849-9972-6EEB394C9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49318768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dvanced 1/2 Image (Full Ble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DA0F537B-2380-C640-8119-936AD77864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85454" y="1089522"/>
            <a:ext cx="6024384" cy="5346002"/>
          </a:xfrm>
          <a:custGeom>
            <a:avLst/>
            <a:gdLst>
              <a:gd name="connsiteX0" fmla="*/ 0 w 10888662"/>
              <a:gd name="connsiteY0" fmla="*/ 579722 h 6442075"/>
              <a:gd name="connsiteX1" fmla="*/ 579722 w 10888662"/>
              <a:gd name="connsiteY1" fmla="*/ 0 h 6442075"/>
              <a:gd name="connsiteX2" fmla="*/ 10308940 w 10888662"/>
              <a:gd name="connsiteY2" fmla="*/ 0 h 6442075"/>
              <a:gd name="connsiteX3" fmla="*/ 10888662 w 10888662"/>
              <a:gd name="connsiteY3" fmla="*/ 579722 h 6442075"/>
              <a:gd name="connsiteX4" fmla="*/ 10888662 w 10888662"/>
              <a:gd name="connsiteY4" fmla="*/ 5862353 h 6442075"/>
              <a:gd name="connsiteX5" fmla="*/ 10308940 w 10888662"/>
              <a:gd name="connsiteY5" fmla="*/ 6442075 h 6442075"/>
              <a:gd name="connsiteX6" fmla="*/ 579722 w 10888662"/>
              <a:gd name="connsiteY6" fmla="*/ 6442075 h 6442075"/>
              <a:gd name="connsiteX7" fmla="*/ 0 w 10888662"/>
              <a:gd name="connsiteY7" fmla="*/ 5862353 h 6442075"/>
              <a:gd name="connsiteX8" fmla="*/ 0 w 10888662"/>
              <a:gd name="connsiteY8" fmla="*/ 579722 h 6442075"/>
              <a:gd name="connsiteX0" fmla="*/ 0 w 10888662"/>
              <a:gd name="connsiteY0" fmla="*/ 659657 h 6522010"/>
              <a:gd name="connsiteX1" fmla="*/ 10308940 w 10888662"/>
              <a:gd name="connsiteY1" fmla="*/ 79935 h 6522010"/>
              <a:gd name="connsiteX2" fmla="*/ 10888662 w 10888662"/>
              <a:gd name="connsiteY2" fmla="*/ 659657 h 6522010"/>
              <a:gd name="connsiteX3" fmla="*/ 10888662 w 10888662"/>
              <a:gd name="connsiteY3" fmla="*/ 5942288 h 6522010"/>
              <a:gd name="connsiteX4" fmla="*/ 10308940 w 10888662"/>
              <a:gd name="connsiteY4" fmla="*/ 6522010 h 6522010"/>
              <a:gd name="connsiteX5" fmla="*/ 579722 w 10888662"/>
              <a:gd name="connsiteY5" fmla="*/ 6522010 h 6522010"/>
              <a:gd name="connsiteX6" fmla="*/ 0 w 10888662"/>
              <a:gd name="connsiteY6" fmla="*/ 5942288 h 6522010"/>
              <a:gd name="connsiteX7" fmla="*/ 0 w 10888662"/>
              <a:gd name="connsiteY7" fmla="*/ 659657 h 6522010"/>
              <a:gd name="connsiteX0" fmla="*/ 0 w 10888662"/>
              <a:gd name="connsiteY0" fmla="*/ 579722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579722 h 6442075"/>
              <a:gd name="connsiteX0" fmla="*/ 0 w 10888662"/>
              <a:gd name="connsiteY0" fmla="*/ 129257 h 6569679"/>
              <a:gd name="connsiteX1" fmla="*/ 10308940 w 10888662"/>
              <a:gd name="connsiteY1" fmla="*/ 127604 h 6569679"/>
              <a:gd name="connsiteX2" fmla="*/ 10888662 w 10888662"/>
              <a:gd name="connsiteY2" fmla="*/ 707326 h 6569679"/>
              <a:gd name="connsiteX3" fmla="*/ 10888662 w 10888662"/>
              <a:gd name="connsiteY3" fmla="*/ 5989957 h 6569679"/>
              <a:gd name="connsiteX4" fmla="*/ 10308940 w 10888662"/>
              <a:gd name="connsiteY4" fmla="*/ 6569679 h 6569679"/>
              <a:gd name="connsiteX5" fmla="*/ 579722 w 10888662"/>
              <a:gd name="connsiteY5" fmla="*/ 6569679 h 6569679"/>
              <a:gd name="connsiteX6" fmla="*/ 0 w 10888662"/>
              <a:gd name="connsiteY6" fmla="*/ 5989957 h 6569679"/>
              <a:gd name="connsiteX7" fmla="*/ 0 w 10888662"/>
              <a:gd name="connsiteY7" fmla="*/ 129257 h 6569679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10308940 w 10888662"/>
              <a:gd name="connsiteY4" fmla="*/ 64420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9657299 w 10888662"/>
              <a:gd name="connsiteY4" fmla="*/ 5527675 h 6442075"/>
              <a:gd name="connsiteX5" fmla="*/ 579722 w 10888662"/>
              <a:gd name="connsiteY5" fmla="*/ 6442075 h 6442075"/>
              <a:gd name="connsiteX6" fmla="*/ 0 w 10888662"/>
              <a:gd name="connsiteY6" fmla="*/ 5862353 h 6442075"/>
              <a:gd name="connsiteX7" fmla="*/ 0 w 10888662"/>
              <a:gd name="connsiteY7" fmla="*/ 1653 h 6442075"/>
              <a:gd name="connsiteX0" fmla="*/ 0 w 10888662"/>
              <a:gd name="connsiteY0" fmla="*/ 1653 h 6522010"/>
              <a:gd name="connsiteX1" fmla="*/ 10308940 w 10888662"/>
              <a:gd name="connsiteY1" fmla="*/ 0 h 6522010"/>
              <a:gd name="connsiteX2" fmla="*/ 10888662 w 10888662"/>
              <a:gd name="connsiteY2" fmla="*/ 579722 h 6522010"/>
              <a:gd name="connsiteX3" fmla="*/ 10888662 w 10888662"/>
              <a:gd name="connsiteY3" fmla="*/ 5862353 h 6522010"/>
              <a:gd name="connsiteX4" fmla="*/ 579722 w 10888662"/>
              <a:gd name="connsiteY4" fmla="*/ 6442075 h 6522010"/>
              <a:gd name="connsiteX5" fmla="*/ 0 w 10888662"/>
              <a:gd name="connsiteY5" fmla="*/ 5862353 h 6522010"/>
              <a:gd name="connsiteX6" fmla="*/ 0 w 10888662"/>
              <a:gd name="connsiteY6" fmla="*/ 1653 h 6522010"/>
              <a:gd name="connsiteX0" fmla="*/ 0 w 10888662"/>
              <a:gd name="connsiteY0" fmla="*/ 1653 h 6442075"/>
              <a:gd name="connsiteX1" fmla="*/ 10308940 w 10888662"/>
              <a:gd name="connsiteY1" fmla="*/ 0 h 6442075"/>
              <a:gd name="connsiteX2" fmla="*/ 10888662 w 10888662"/>
              <a:gd name="connsiteY2" fmla="*/ 579722 h 6442075"/>
              <a:gd name="connsiteX3" fmla="*/ 10888662 w 10888662"/>
              <a:gd name="connsiteY3" fmla="*/ 5862353 h 6442075"/>
              <a:gd name="connsiteX4" fmla="*/ 579722 w 10888662"/>
              <a:gd name="connsiteY4" fmla="*/ 6442075 h 6442075"/>
              <a:gd name="connsiteX5" fmla="*/ 0 w 10888662"/>
              <a:gd name="connsiteY5" fmla="*/ 5862353 h 6442075"/>
              <a:gd name="connsiteX6" fmla="*/ 0 w 10888662"/>
              <a:gd name="connsiteY6" fmla="*/ 1653 h 6442075"/>
              <a:gd name="connsiteX0" fmla="*/ 0 w 10888662"/>
              <a:gd name="connsiteY0" fmla="*/ 1653 h 6585432"/>
              <a:gd name="connsiteX1" fmla="*/ 10308940 w 10888662"/>
              <a:gd name="connsiteY1" fmla="*/ 0 h 6585432"/>
              <a:gd name="connsiteX2" fmla="*/ 10888662 w 10888662"/>
              <a:gd name="connsiteY2" fmla="*/ 579722 h 6585432"/>
              <a:gd name="connsiteX3" fmla="*/ 10878151 w 10888662"/>
              <a:gd name="connsiteY3" fmla="*/ 6461442 h 6585432"/>
              <a:gd name="connsiteX4" fmla="*/ 579722 w 10888662"/>
              <a:gd name="connsiteY4" fmla="*/ 6442075 h 6585432"/>
              <a:gd name="connsiteX5" fmla="*/ 0 w 10888662"/>
              <a:gd name="connsiteY5" fmla="*/ 5862353 h 6585432"/>
              <a:gd name="connsiteX6" fmla="*/ 0 w 10888662"/>
              <a:gd name="connsiteY6" fmla="*/ 1653 h 6585432"/>
              <a:gd name="connsiteX0" fmla="*/ 0 w 10888662"/>
              <a:gd name="connsiteY0" fmla="*/ 1653 h 6577502"/>
              <a:gd name="connsiteX1" fmla="*/ 10308940 w 10888662"/>
              <a:gd name="connsiteY1" fmla="*/ 0 h 6577502"/>
              <a:gd name="connsiteX2" fmla="*/ 10888662 w 10888662"/>
              <a:gd name="connsiteY2" fmla="*/ 579722 h 6577502"/>
              <a:gd name="connsiteX3" fmla="*/ 10878151 w 10888662"/>
              <a:gd name="connsiteY3" fmla="*/ 6450932 h 6577502"/>
              <a:gd name="connsiteX4" fmla="*/ 579722 w 10888662"/>
              <a:gd name="connsiteY4" fmla="*/ 6442075 h 6577502"/>
              <a:gd name="connsiteX5" fmla="*/ 0 w 10888662"/>
              <a:gd name="connsiteY5" fmla="*/ 5862353 h 6577502"/>
              <a:gd name="connsiteX6" fmla="*/ 0 w 10888662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577502"/>
              <a:gd name="connsiteX1" fmla="*/ 10308940 w 11750094"/>
              <a:gd name="connsiteY1" fmla="*/ 0 h 6577502"/>
              <a:gd name="connsiteX2" fmla="*/ 10888662 w 11750094"/>
              <a:gd name="connsiteY2" fmla="*/ 579722 h 6577502"/>
              <a:gd name="connsiteX3" fmla="*/ 10878151 w 11750094"/>
              <a:gd name="connsiteY3" fmla="*/ 6450932 h 6577502"/>
              <a:gd name="connsiteX4" fmla="*/ 579722 w 11750094"/>
              <a:gd name="connsiteY4" fmla="*/ 6442075 h 6577502"/>
              <a:gd name="connsiteX5" fmla="*/ 0 w 11750094"/>
              <a:gd name="connsiteY5" fmla="*/ 5862353 h 6577502"/>
              <a:gd name="connsiteX6" fmla="*/ 0 w 11750094"/>
              <a:gd name="connsiteY6" fmla="*/ 1653 h 657750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1750094"/>
              <a:gd name="connsiteY0" fmla="*/ 1653 h 6450932"/>
              <a:gd name="connsiteX1" fmla="*/ 10308940 w 11750094"/>
              <a:gd name="connsiteY1" fmla="*/ 0 h 6450932"/>
              <a:gd name="connsiteX2" fmla="*/ 10888662 w 11750094"/>
              <a:gd name="connsiteY2" fmla="*/ 579722 h 6450932"/>
              <a:gd name="connsiteX3" fmla="*/ 10878151 w 11750094"/>
              <a:gd name="connsiteY3" fmla="*/ 6450932 h 6450932"/>
              <a:gd name="connsiteX4" fmla="*/ 579722 w 11750094"/>
              <a:gd name="connsiteY4" fmla="*/ 6442075 h 6450932"/>
              <a:gd name="connsiteX5" fmla="*/ 0 w 11750094"/>
              <a:gd name="connsiteY5" fmla="*/ 5862353 h 6450932"/>
              <a:gd name="connsiteX6" fmla="*/ 0 w 11750094"/>
              <a:gd name="connsiteY6" fmla="*/ 1653 h 6450932"/>
              <a:gd name="connsiteX0" fmla="*/ 0 w 10888662"/>
              <a:gd name="connsiteY0" fmla="*/ 1653 h 6450932"/>
              <a:gd name="connsiteX1" fmla="*/ 10308940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0999550"/>
              <a:gd name="connsiteY0" fmla="*/ 1653 h 6450932"/>
              <a:gd name="connsiteX1" fmla="*/ 10844968 w 10999550"/>
              <a:gd name="connsiteY1" fmla="*/ 0 h 6450932"/>
              <a:gd name="connsiteX2" fmla="*/ 10888662 w 10999550"/>
              <a:gd name="connsiteY2" fmla="*/ 579722 h 6450932"/>
              <a:gd name="connsiteX3" fmla="*/ 10878151 w 10999550"/>
              <a:gd name="connsiteY3" fmla="*/ 6450932 h 6450932"/>
              <a:gd name="connsiteX4" fmla="*/ 579722 w 10999550"/>
              <a:gd name="connsiteY4" fmla="*/ 6442075 h 6450932"/>
              <a:gd name="connsiteX5" fmla="*/ 0 w 10999550"/>
              <a:gd name="connsiteY5" fmla="*/ 5862353 h 6450932"/>
              <a:gd name="connsiteX6" fmla="*/ 0 w 10999550"/>
              <a:gd name="connsiteY6" fmla="*/ 1653 h 6450932"/>
              <a:gd name="connsiteX0" fmla="*/ 0 w 11022020"/>
              <a:gd name="connsiteY0" fmla="*/ 1653 h 6450932"/>
              <a:gd name="connsiteX1" fmla="*/ 10876499 w 11022020"/>
              <a:gd name="connsiteY1" fmla="*/ 0 h 6450932"/>
              <a:gd name="connsiteX2" fmla="*/ 10888662 w 11022020"/>
              <a:gd name="connsiteY2" fmla="*/ 579722 h 6450932"/>
              <a:gd name="connsiteX3" fmla="*/ 10878151 w 11022020"/>
              <a:gd name="connsiteY3" fmla="*/ 6450932 h 6450932"/>
              <a:gd name="connsiteX4" fmla="*/ 579722 w 11022020"/>
              <a:gd name="connsiteY4" fmla="*/ 6442075 h 6450932"/>
              <a:gd name="connsiteX5" fmla="*/ 0 w 11022020"/>
              <a:gd name="connsiteY5" fmla="*/ 5862353 h 6450932"/>
              <a:gd name="connsiteX6" fmla="*/ 0 w 11022020"/>
              <a:gd name="connsiteY6" fmla="*/ 1653 h 6450932"/>
              <a:gd name="connsiteX0" fmla="*/ 0 w 10888662"/>
              <a:gd name="connsiteY0" fmla="*/ 1653 h 6450932"/>
              <a:gd name="connsiteX1" fmla="*/ 10876499 w 10888662"/>
              <a:gd name="connsiteY1" fmla="*/ 0 h 6450932"/>
              <a:gd name="connsiteX2" fmla="*/ 10888662 w 10888662"/>
              <a:gd name="connsiteY2" fmla="*/ 579722 h 6450932"/>
              <a:gd name="connsiteX3" fmla="*/ 10878151 w 10888662"/>
              <a:gd name="connsiteY3" fmla="*/ 6450932 h 6450932"/>
              <a:gd name="connsiteX4" fmla="*/ 579722 w 10888662"/>
              <a:gd name="connsiteY4" fmla="*/ 6442075 h 6450932"/>
              <a:gd name="connsiteX5" fmla="*/ 0 w 10888662"/>
              <a:gd name="connsiteY5" fmla="*/ 5862353 h 6450932"/>
              <a:gd name="connsiteX6" fmla="*/ 0 w 10888662"/>
              <a:gd name="connsiteY6" fmla="*/ 1653 h 6450932"/>
              <a:gd name="connsiteX0" fmla="*/ 0 w 12200990"/>
              <a:gd name="connsiteY0" fmla="*/ 1653 h 6450932"/>
              <a:gd name="connsiteX1" fmla="*/ 10876499 w 12200990"/>
              <a:gd name="connsiteY1" fmla="*/ 0 h 6450932"/>
              <a:gd name="connsiteX2" fmla="*/ 10878151 w 12200990"/>
              <a:gd name="connsiteY2" fmla="*/ 6450932 h 6450932"/>
              <a:gd name="connsiteX3" fmla="*/ 579722 w 12200990"/>
              <a:gd name="connsiteY3" fmla="*/ 6442075 h 6450932"/>
              <a:gd name="connsiteX4" fmla="*/ 0 w 12200990"/>
              <a:gd name="connsiteY4" fmla="*/ 5862353 h 6450932"/>
              <a:gd name="connsiteX5" fmla="*/ 0 w 12200990"/>
              <a:gd name="connsiteY5" fmla="*/ 1653 h 6450932"/>
              <a:gd name="connsiteX0" fmla="*/ 0 w 11640630"/>
              <a:gd name="connsiteY0" fmla="*/ 1653 h 6450932"/>
              <a:gd name="connsiteX1" fmla="*/ 10876499 w 11640630"/>
              <a:gd name="connsiteY1" fmla="*/ 0 h 6450932"/>
              <a:gd name="connsiteX2" fmla="*/ 10878151 w 11640630"/>
              <a:gd name="connsiteY2" fmla="*/ 6450932 h 6450932"/>
              <a:gd name="connsiteX3" fmla="*/ 579722 w 11640630"/>
              <a:gd name="connsiteY3" fmla="*/ 6442075 h 6450932"/>
              <a:gd name="connsiteX4" fmla="*/ 0 w 11640630"/>
              <a:gd name="connsiteY4" fmla="*/ 5862353 h 6450932"/>
              <a:gd name="connsiteX5" fmla="*/ 0 w 11640630"/>
              <a:gd name="connsiteY5" fmla="*/ 1653 h 6450932"/>
              <a:gd name="connsiteX0" fmla="*/ 0 w 10878151"/>
              <a:gd name="connsiteY0" fmla="*/ 1653 h 6450932"/>
              <a:gd name="connsiteX1" fmla="*/ 10876499 w 10878151"/>
              <a:gd name="connsiteY1" fmla="*/ 0 h 6450932"/>
              <a:gd name="connsiteX2" fmla="*/ 10878151 w 10878151"/>
              <a:gd name="connsiteY2" fmla="*/ 6450932 h 6450932"/>
              <a:gd name="connsiteX3" fmla="*/ 579722 w 10878151"/>
              <a:gd name="connsiteY3" fmla="*/ 6442075 h 6450932"/>
              <a:gd name="connsiteX4" fmla="*/ 0 w 10878151"/>
              <a:gd name="connsiteY4" fmla="*/ 5862353 h 6450932"/>
              <a:gd name="connsiteX5" fmla="*/ 0 w 10878151"/>
              <a:gd name="connsiteY5" fmla="*/ 1653 h 6450932"/>
              <a:gd name="connsiteX0" fmla="*/ 0 w 11843451"/>
              <a:gd name="connsiteY0" fmla="*/ 1653 h 6450932"/>
              <a:gd name="connsiteX1" fmla="*/ 11843451 w 11843451"/>
              <a:gd name="connsiteY1" fmla="*/ 0 h 6450932"/>
              <a:gd name="connsiteX2" fmla="*/ 10878151 w 11843451"/>
              <a:gd name="connsiteY2" fmla="*/ 6450932 h 6450932"/>
              <a:gd name="connsiteX3" fmla="*/ 579722 w 11843451"/>
              <a:gd name="connsiteY3" fmla="*/ 6442075 h 6450932"/>
              <a:gd name="connsiteX4" fmla="*/ 0 w 11843451"/>
              <a:gd name="connsiteY4" fmla="*/ 5862353 h 6450932"/>
              <a:gd name="connsiteX5" fmla="*/ 0 w 11843451"/>
              <a:gd name="connsiteY5" fmla="*/ 1653 h 6450932"/>
              <a:gd name="connsiteX0" fmla="*/ 0 w 11855613"/>
              <a:gd name="connsiteY0" fmla="*/ 1653 h 6450932"/>
              <a:gd name="connsiteX1" fmla="*/ 11843451 w 11855613"/>
              <a:gd name="connsiteY1" fmla="*/ 0 h 6450932"/>
              <a:gd name="connsiteX2" fmla="*/ 11855613 w 11855613"/>
              <a:gd name="connsiteY2" fmla="*/ 6450932 h 6450932"/>
              <a:gd name="connsiteX3" fmla="*/ 579722 w 11855613"/>
              <a:gd name="connsiteY3" fmla="*/ 6442075 h 6450932"/>
              <a:gd name="connsiteX4" fmla="*/ 0 w 11855613"/>
              <a:gd name="connsiteY4" fmla="*/ 5862353 h 6450932"/>
              <a:gd name="connsiteX5" fmla="*/ 0 w 11855613"/>
              <a:gd name="connsiteY5" fmla="*/ 1653 h 6450932"/>
              <a:gd name="connsiteX0" fmla="*/ 0 w 11864472"/>
              <a:gd name="connsiteY0" fmla="*/ 1653 h 6450932"/>
              <a:gd name="connsiteX1" fmla="*/ 11864472 w 11864472"/>
              <a:gd name="connsiteY1" fmla="*/ 0 h 6450932"/>
              <a:gd name="connsiteX2" fmla="*/ 11855613 w 11864472"/>
              <a:gd name="connsiteY2" fmla="*/ 6450932 h 6450932"/>
              <a:gd name="connsiteX3" fmla="*/ 579722 w 11864472"/>
              <a:gd name="connsiteY3" fmla="*/ 6442075 h 6450932"/>
              <a:gd name="connsiteX4" fmla="*/ 0 w 11864472"/>
              <a:gd name="connsiteY4" fmla="*/ 5862353 h 6450932"/>
              <a:gd name="connsiteX5" fmla="*/ 0 w 11864472"/>
              <a:gd name="connsiteY5" fmla="*/ 1653 h 6450932"/>
              <a:gd name="connsiteX0" fmla="*/ 0 w 11864472"/>
              <a:gd name="connsiteY0" fmla="*/ 1653 h 6442075"/>
              <a:gd name="connsiteX1" fmla="*/ 11864472 w 11864472"/>
              <a:gd name="connsiteY1" fmla="*/ 0 h 6442075"/>
              <a:gd name="connsiteX2" fmla="*/ 11855613 w 11864472"/>
              <a:gd name="connsiteY2" fmla="*/ 6440421 h 6442075"/>
              <a:gd name="connsiteX3" fmla="*/ 579722 w 11864472"/>
              <a:gd name="connsiteY3" fmla="*/ 6442075 h 6442075"/>
              <a:gd name="connsiteX4" fmla="*/ 0 w 11864472"/>
              <a:gd name="connsiteY4" fmla="*/ 5862353 h 6442075"/>
              <a:gd name="connsiteX5" fmla="*/ 0 w 11864472"/>
              <a:gd name="connsiteY5" fmla="*/ 1653 h 6442075"/>
              <a:gd name="connsiteX0" fmla="*/ 0 w 11855613"/>
              <a:gd name="connsiteY0" fmla="*/ 1653 h 6442075"/>
              <a:gd name="connsiteX1" fmla="*/ 8912928 w 11855613"/>
              <a:gd name="connsiteY1" fmla="*/ 0 h 6442075"/>
              <a:gd name="connsiteX2" fmla="*/ 11855613 w 11855613"/>
              <a:gd name="connsiteY2" fmla="*/ 6440421 h 6442075"/>
              <a:gd name="connsiteX3" fmla="*/ 579722 w 11855613"/>
              <a:gd name="connsiteY3" fmla="*/ 6442075 h 6442075"/>
              <a:gd name="connsiteX4" fmla="*/ 0 w 11855613"/>
              <a:gd name="connsiteY4" fmla="*/ 5862353 h 6442075"/>
              <a:gd name="connsiteX5" fmla="*/ 0 w 11855613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74032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36077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71615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38792"/>
              <a:gd name="connsiteY0" fmla="*/ 1653 h 6442075"/>
              <a:gd name="connsiteX1" fmla="*/ 8912928 w 8938792"/>
              <a:gd name="connsiteY1" fmla="*/ 0 h 6442075"/>
              <a:gd name="connsiteX2" fmla="*/ 8938792 w 8938792"/>
              <a:gd name="connsiteY2" fmla="*/ 6440421 h 6442075"/>
              <a:gd name="connsiteX3" fmla="*/ 579722 w 8938792"/>
              <a:gd name="connsiteY3" fmla="*/ 6442075 h 6442075"/>
              <a:gd name="connsiteX4" fmla="*/ 0 w 8938792"/>
              <a:gd name="connsiteY4" fmla="*/ 5862353 h 6442075"/>
              <a:gd name="connsiteX5" fmla="*/ 0 w 8938792"/>
              <a:gd name="connsiteY5" fmla="*/ 1653 h 6442075"/>
              <a:gd name="connsiteX0" fmla="*/ 0 w 8915642"/>
              <a:gd name="connsiteY0" fmla="*/ 1653 h 6442075"/>
              <a:gd name="connsiteX1" fmla="*/ 8912928 w 8915642"/>
              <a:gd name="connsiteY1" fmla="*/ 0 h 6442075"/>
              <a:gd name="connsiteX2" fmla="*/ 8915642 w 8915642"/>
              <a:gd name="connsiteY2" fmla="*/ 6440421 h 6442075"/>
              <a:gd name="connsiteX3" fmla="*/ 579722 w 8915642"/>
              <a:gd name="connsiteY3" fmla="*/ 6442075 h 6442075"/>
              <a:gd name="connsiteX4" fmla="*/ 0 w 8915642"/>
              <a:gd name="connsiteY4" fmla="*/ 5862353 h 6442075"/>
              <a:gd name="connsiteX5" fmla="*/ 0 w 8915642"/>
              <a:gd name="connsiteY5" fmla="*/ 1653 h 6442075"/>
              <a:gd name="connsiteX0" fmla="*/ 0 w 8915642"/>
              <a:gd name="connsiteY0" fmla="*/ 1 h 6633463"/>
              <a:gd name="connsiteX1" fmla="*/ 8912928 w 8915642"/>
              <a:gd name="connsiteY1" fmla="*/ 191388 h 6633463"/>
              <a:gd name="connsiteX2" fmla="*/ 8915642 w 8915642"/>
              <a:gd name="connsiteY2" fmla="*/ 6631809 h 6633463"/>
              <a:gd name="connsiteX3" fmla="*/ 579722 w 8915642"/>
              <a:gd name="connsiteY3" fmla="*/ 6633463 h 6633463"/>
              <a:gd name="connsiteX4" fmla="*/ 0 w 8915642"/>
              <a:gd name="connsiteY4" fmla="*/ 6053741 h 6633463"/>
              <a:gd name="connsiteX5" fmla="*/ 0 w 8915642"/>
              <a:gd name="connsiteY5" fmla="*/ 1 h 6633463"/>
              <a:gd name="connsiteX0" fmla="*/ 0 w 8933278"/>
              <a:gd name="connsiteY0" fmla="*/ 1653 h 6635115"/>
              <a:gd name="connsiteX1" fmla="*/ 8933248 w 8933278"/>
              <a:gd name="connsiteY1" fmla="*/ 0 h 6635115"/>
              <a:gd name="connsiteX2" fmla="*/ 8915642 w 8933278"/>
              <a:gd name="connsiteY2" fmla="*/ 6633461 h 6635115"/>
              <a:gd name="connsiteX3" fmla="*/ 579722 w 8933278"/>
              <a:gd name="connsiteY3" fmla="*/ 6635115 h 6635115"/>
              <a:gd name="connsiteX4" fmla="*/ 0 w 8933278"/>
              <a:gd name="connsiteY4" fmla="*/ 6055393 h 6635115"/>
              <a:gd name="connsiteX5" fmla="*/ 0 w 8933278"/>
              <a:gd name="connsiteY5" fmla="*/ 1653 h 6635115"/>
              <a:gd name="connsiteX0" fmla="*/ 0 w 8933323"/>
              <a:gd name="connsiteY0" fmla="*/ 1653 h 6645336"/>
              <a:gd name="connsiteX1" fmla="*/ 8933248 w 8933323"/>
              <a:gd name="connsiteY1" fmla="*/ 0 h 6645336"/>
              <a:gd name="connsiteX2" fmla="*/ 8927517 w 8933323"/>
              <a:gd name="connsiteY2" fmla="*/ 6645336 h 6645336"/>
              <a:gd name="connsiteX3" fmla="*/ 579722 w 8933323"/>
              <a:gd name="connsiteY3" fmla="*/ 6635115 h 6645336"/>
              <a:gd name="connsiteX4" fmla="*/ 0 w 8933323"/>
              <a:gd name="connsiteY4" fmla="*/ 6055393 h 6645336"/>
              <a:gd name="connsiteX5" fmla="*/ 0 w 8933323"/>
              <a:gd name="connsiteY5" fmla="*/ 1653 h 6645336"/>
              <a:gd name="connsiteX0" fmla="*/ 0 w 8927517"/>
              <a:gd name="connsiteY0" fmla="*/ 1653 h 6645336"/>
              <a:gd name="connsiteX1" fmla="*/ 7971347 w 8927517"/>
              <a:gd name="connsiteY1" fmla="*/ 0 h 6645336"/>
              <a:gd name="connsiteX2" fmla="*/ 8927517 w 8927517"/>
              <a:gd name="connsiteY2" fmla="*/ 6645336 h 6645336"/>
              <a:gd name="connsiteX3" fmla="*/ 579722 w 8927517"/>
              <a:gd name="connsiteY3" fmla="*/ 6635115 h 6645336"/>
              <a:gd name="connsiteX4" fmla="*/ 0 w 8927517"/>
              <a:gd name="connsiteY4" fmla="*/ 6055393 h 6645336"/>
              <a:gd name="connsiteX5" fmla="*/ 0 w 8927517"/>
              <a:gd name="connsiteY5" fmla="*/ 1653 h 6645336"/>
              <a:gd name="connsiteX0" fmla="*/ 0 w 7971422"/>
              <a:gd name="connsiteY0" fmla="*/ 1653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653 h 6645336"/>
              <a:gd name="connsiteX0" fmla="*/ 0 w 7971422"/>
              <a:gd name="connsiteY0" fmla="*/ 1301816 h 6645336"/>
              <a:gd name="connsiteX1" fmla="*/ 7971347 w 7971422"/>
              <a:gd name="connsiteY1" fmla="*/ 0 h 6645336"/>
              <a:gd name="connsiteX2" fmla="*/ 7965616 w 7971422"/>
              <a:gd name="connsiteY2" fmla="*/ 6645336 h 6645336"/>
              <a:gd name="connsiteX3" fmla="*/ 579722 w 7971422"/>
              <a:gd name="connsiteY3" fmla="*/ 6635115 h 6645336"/>
              <a:gd name="connsiteX4" fmla="*/ 0 w 7971422"/>
              <a:gd name="connsiteY4" fmla="*/ 6055393 h 6645336"/>
              <a:gd name="connsiteX5" fmla="*/ 0 w 7971422"/>
              <a:gd name="connsiteY5" fmla="*/ 1301816 h 6645336"/>
              <a:gd name="connsiteX0" fmla="*/ 0 w 7965616"/>
              <a:gd name="connsiteY0" fmla="*/ 1653 h 5345173"/>
              <a:gd name="connsiteX1" fmla="*/ 7957060 w 7965616"/>
              <a:gd name="connsiteY1" fmla="*/ 0 h 5345173"/>
              <a:gd name="connsiteX2" fmla="*/ 7965616 w 7965616"/>
              <a:gd name="connsiteY2" fmla="*/ 5345173 h 5345173"/>
              <a:gd name="connsiteX3" fmla="*/ 579722 w 7965616"/>
              <a:gd name="connsiteY3" fmla="*/ 5334952 h 5345173"/>
              <a:gd name="connsiteX4" fmla="*/ 0 w 7965616"/>
              <a:gd name="connsiteY4" fmla="*/ 4755230 h 5345173"/>
              <a:gd name="connsiteX5" fmla="*/ 0 w 7965616"/>
              <a:gd name="connsiteY5" fmla="*/ 1653 h 5345173"/>
              <a:gd name="connsiteX0" fmla="*/ 0 w 7971422"/>
              <a:gd name="connsiteY0" fmla="*/ 1653 h 5345173"/>
              <a:gd name="connsiteX1" fmla="*/ 7971347 w 7971422"/>
              <a:gd name="connsiteY1" fmla="*/ 0 h 5345173"/>
              <a:gd name="connsiteX2" fmla="*/ 7965616 w 7971422"/>
              <a:gd name="connsiteY2" fmla="*/ 5345173 h 5345173"/>
              <a:gd name="connsiteX3" fmla="*/ 579722 w 7971422"/>
              <a:gd name="connsiteY3" fmla="*/ 5334952 h 5345173"/>
              <a:gd name="connsiteX4" fmla="*/ 0 w 7971422"/>
              <a:gd name="connsiteY4" fmla="*/ 4755230 h 5345173"/>
              <a:gd name="connsiteX5" fmla="*/ 0 w 7971422"/>
              <a:gd name="connsiteY5" fmla="*/ 1653 h 5345173"/>
              <a:gd name="connsiteX0" fmla="*/ 0 w 7988356"/>
              <a:gd name="connsiteY0" fmla="*/ 187920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187920 h 5345173"/>
              <a:gd name="connsiteX0" fmla="*/ 0 w 7988356"/>
              <a:gd name="connsiteY0" fmla="*/ 210145 h 5345173"/>
              <a:gd name="connsiteX1" fmla="*/ 7988281 w 7988356"/>
              <a:gd name="connsiteY1" fmla="*/ 0 h 5345173"/>
              <a:gd name="connsiteX2" fmla="*/ 7982550 w 7988356"/>
              <a:gd name="connsiteY2" fmla="*/ 5345173 h 5345173"/>
              <a:gd name="connsiteX3" fmla="*/ 596656 w 7988356"/>
              <a:gd name="connsiteY3" fmla="*/ 5334952 h 5345173"/>
              <a:gd name="connsiteX4" fmla="*/ 16934 w 7988356"/>
              <a:gd name="connsiteY4" fmla="*/ 4755230 h 5345173"/>
              <a:gd name="connsiteX5" fmla="*/ 0 w 7988356"/>
              <a:gd name="connsiteY5" fmla="*/ 210145 h 5345173"/>
              <a:gd name="connsiteX0" fmla="*/ 0 w 7988356"/>
              <a:gd name="connsiteY0" fmla="*/ 0 h 5135028"/>
              <a:gd name="connsiteX1" fmla="*/ 7988281 w 7988356"/>
              <a:gd name="connsiteY1" fmla="*/ 7569 h 5135028"/>
              <a:gd name="connsiteX2" fmla="*/ 7982550 w 7988356"/>
              <a:gd name="connsiteY2" fmla="*/ 5135028 h 5135028"/>
              <a:gd name="connsiteX3" fmla="*/ 596656 w 7988356"/>
              <a:gd name="connsiteY3" fmla="*/ 5124807 h 5135028"/>
              <a:gd name="connsiteX4" fmla="*/ 16934 w 7988356"/>
              <a:gd name="connsiteY4" fmla="*/ 4545085 h 5135028"/>
              <a:gd name="connsiteX5" fmla="*/ 0 w 7988356"/>
              <a:gd name="connsiteY5" fmla="*/ 0 h 5135028"/>
              <a:gd name="connsiteX0" fmla="*/ 0 w 7982550"/>
              <a:gd name="connsiteY0" fmla="*/ 0 h 5135028"/>
              <a:gd name="connsiteX1" fmla="*/ 6028853 w 7982550"/>
              <a:gd name="connsiteY1" fmla="*/ 7569 h 5135028"/>
              <a:gd name="connsiteX2" fmla="*/ 7982550 w 7982550"/>
              <a:gd name="connsiteY2" fmla="*/ 5135028 h 5135028"/>
              <a:gd name="connsiteX3" fmla="*/ 596656 w 7982550"/>
              <a:gd name="connsiteY3" fmla="*/ 5124807 h 5135028"/>
              <a:gd name="connsiteX4" fmla="*/ 16934 w 7982550"/>
              <a:gd name="connsiteY4" fmla="*/ 4545085 h 5135028"/>
              <a:gd name="connsiteX5" fmla="*/ 0 w 7982550"/>
              <a:gd name="connsiteY5" fmla="*/ 0 h 5135028"/>
              <a:gd name="connsiteX0" fmla="*/ 0 w 6037636"/>
              <a:gd name="connsiteY0" fmla="*/ 0 h 5135028"/>
              <a:gd name="connsiteX1" fmla="*/ 6028853 w 6037636"/>
              <a:gd name="connsiteY1" fmla="*/ 7569 h 5135028"/>
              <a:gd name="connsiteX2" fmla="*/ 6037636 w 6037636"/>
              <a:gd name="connsiteY2" fmla="*/ 5135028 h 5135028"/>
              <a:gd name="connsiteX3" fmla="*/ 596656 w 6037636"/>
              <a:gd name="connsiteY3" fmla="*/ 5124807 h 5135028"/>
              <a:gd name="connsiteX4" fmla="*/ 16934 w 6037636"/>
              <a:gd name="connsiteY4" fmla="*/ 4545085 h 5135028"/>
              <a:gd name="connsiteX5" fmla="*/ 0 w 6037636"/>
              <a:gd name="connsiteY5" fmla="*/ 0 h 5135028"/>
              <a:gd name="connsiteX0" fmla="*/ 0 w 6024384"/>
              <a:gd name="connsiteY0" fmla="*/ 0 h 6857810"/>
              <a:gd name="connsiteX1" fmla="*/ 6015601 w 6024384"/>
              <a:gd name="connsiteY1" fmla="*/ 1730351 h 6857810"/>
              <a:gd name="connsiteX2" fmla="*/ 6024384 w 6024384"/>
              <a:gd name="connsiteY2" fmla="*/ 6857810 h 6857810"/>
              <a:gd name="connsiteX3" fmla="*/ 583404 w 6024384"/>
              <a:gd name="connsiteY3" fmla="*/ 6847589 h 6857810"/>
              <a:gd name="connsiteX4" fmla="*/ 3682 w 6024384"/>
              <a:gd name="connsiteY4" fmla="*/ 6267867 h 6857810"/>
              <a:gd name="connsiteX5" fmla="*/ 0 w 6024384"/>
              <a:gd name="connsiteY5" fmla="*/ 0 h 6857810"/>
              <a:gd name="connsiteX0" fmla="*/ 0 w 6024384"/>
              <a:gd name="connsiteY0" fmla="*/ 5684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5684 h 6863494"/>
              <a:gd name="connsiteX0" fmla="*/ 0 w 6024384"/>
              <a:gd name="connsiteY0" fmla="*/ 1078580 h 6863494"/>
              <a:gd name="connsiteX1" fmla="*/ 6002349 w 6024384"/>
              <a:gd name="connsiteY1" fmla="*/ 0 h 6863494"/>
              <a:gd name="connsiteX2" fmla="*/ 6024384 w 6024384"/>
              <a:gd name="connsiteY2" fmla="*/ 6863494 h 6863494"/>
              <a:gd name="connsiteX3" fmla="*/ 583404 w 6024384"/>
              <a:gd name="connsiteY3" fmla="*/ 6853273 h 6863494"/>
              <a:gd name="connsiteX4" fmla="*/ 3682 w 6024384"/>
              <a:gd name="connsiteY4" fmla="*/ 6273551 h 6863494"/>
              <a:gd name="connsiteX5" fmla="*/ 0 w 6024384"/>
              <a:gd name="connsiteY5" fmla="*/ 1078580 h 6863494"/>
              <a:gd name="connsiteX0" fmla="*/ 0 w 6024384"/>
              <a:gd name="connsiteY0" fmla="*/ 5684 h 5790598"/>
              <a:gd name="connsiteX1" fmla="*/ 6014544 w 6024384"/>
              <a:gd name="connsiteY1" fmla="*/ 0 h 5790598"/>
              <a:gd name="connsiteX2" fmla="*/ 6024384 w 6024384"/>
              <a:gd name="connsiteY2" fmla="*/ 5790598 h 5790598"/>
              <a:gd name="connsiteX3" fmla="*/ 583404 w 6024384"/>
              <a:gd name="connsiteY3" fmla="*/ 5780377 h 5790598"/>
              <a:gd name="connsiteX4" fmla="*/ 3682 w 6024384"/>
              <a:gd name="connsiteY4" fmla="*/ 5200655 h 5790598"/>
              <a:gd name="connsiteX5" fmla="*/ 0 w 6024384"/>
              <a:gd name="connsiteY5" fmla="*/ 5684 h 5790598"/>
              <a:gd name="connsiteX0" fmla="*/ 0 w 6024384"/>
              <a:gd name="connsiteY0" fmla="*/ 444596 h 5790598"/>
              <a:gd name="connsiteX1" fmla="*/ 6014544 w 6024384"/>
              <a:gd name="connsiteY1" fmla="*/ 0 h 5790598"/>
              <a:gd name="connsiteX2" fmla="*/ 6024384 w 6024384"/>
              <a:gd name="connsiteY2" fmla="*/ 5790598 h 5790598"/>
              <a:gd name="connsiteX3" fmla="*/ 583404 w 6024384"/>
              <a:gd name="connsiteY3" fmla="*/ 5780377 h 5790598"/>
              <a:gd name="connsiteX4" fmla="*/ 3682 w 6024384"/>
              <a:gd name="connsiteY4" fmla="*/ 5200655 h 5790598"/>
              <a:gd name="connsiteX5" fmla="*/ 0 w 6024384"/>
              <a:gd name="connsiteY5" fmla="*/ 444596 h 5790598"/>
              <a:gd name="connsiteX0" fmla="*/ 0 w 6024384"/>
              <a:gd name="connsiteY0" fmla="*/ 0 h 5346002"/>
              <a:gd name="connsiteX1" fmla="*/ 6014544 w 6024384"/>
              <a:gd name="connsiteY1" fmla="*/ 6508 h 5346002"/>
              <a:gd name="connsiteX2" fmla="*/ 6024384 w 6024384"/>
              <a:gd name="connsiteY2" fmla="*/ 5346002 h 5346002"/>
              <a:gd name="connsiteX3" fmla="*/ 583404 w 6024384"/>
              <a:gd name="connsiteY3" fmla="*/ 5335781 h 5346002"/>
              <a:gd name="connsiteX4" fmla="*/ 3682 w 6024384"/>
              <a:gd name="connsiteY4" fmla="*/ 4756059 h 5346002"/>
              <a:gd name="connsiteX5" fmla="*/ 0 w 6024384"/>
              <a:gd name="connsiteY5" fmla="*/ 0 h 534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24384" h="5346002">
                <a:moveTo>
                  <a:pt x="0" y="0"/>
                </a:moveTo>
                <a:lnTo>
                  <a:pt x="6014544" y="6508"/>
                </a:lnTo>
                <a:cubicBezTo>
                  <a:pt x="6015449" y="2153315"/>
                  <a:pt x="6023479" y="3199195"/>
                  <a:pt x="6024384" y="5346002"/>
                </a:cubicBezTo>
                <a:lnTo>
                  <a:pt x="583404" y="5335781"/>
                </a:lnTo>
                <a:cubicBezTo>
                  <a:pt x="263232" y="5335781"/>
                  <a:pt x="3682" y="5076231"/>
                  <a:pt x="3682" y="4756059"/>
                </a:cubicBezTo>
                <a:cubicBezTo>
                  <a:pt x="-1963" y="3233622"/>
                  <a:pt x="5645" y="1522437"/>
                  <a:pt x="0" y="0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Insert Pho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925D82-457F-D84D-B8DF-D8ADFD7E71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1150" y="3178298"/>
            <a:ext cx="5708650" cy="272786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799" b="1">
                <a:solidFill>
                  <a:srgbClr val="2A419A"/>
                </a:solidFill>
              </a:defRPr>
            </a:lvl1pPr>
            <a:lvl2pPr marL="456931" indent="0">
              <a:lnSpc>
                <a:spcPts val="1799"/>
              </a:lnSpc>
              <a:spcBef>
                <a:spcPts val="0"/>
              </a:spcBef>
              <a:buNone/>
              <a:defRPr sz="1400"/>
            </a:lvl2pPr>
            <a:lvl3pPr marL="913875" indent="0">
              <a:lnSpc>
                <a:spcPts val="1799"/>
              </a:lnSpc>
              <a:spcBef>
                <a:spcPts val="0"/>
              </a:spcBef>
              <a:buNone/>
              <a:defRPr sz="1400"/>
            </a:lvl3pPr>
            <a:lvl4pPr marL="1370808" indent="0">
              <a:lnSpc>
                <a:spcPts val="1799"/>
              </a:lnSpc>
              <a:spcBef>
                <a:spcPts val="0"/>
              </a:spcBef>
              <a:buNone/>
              <a:defRPr sz="1400"/>
            </a:lvl4pPr>
            <a:lvl5pPr marL="1827742" indent="0">
              <a:lnSpc>
                <a:spcPts val="1799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3575904"/>
            <a:ext cx="5708650" cy="2859620"/>
          </a:xfrm>
          <a:prstGeom prst="rect">
            <a:avLst/>
          </a:prstGeom>
        </p:spPr>
        <p:txBody>
          <a:bodyPr tIns="0" rIns="0" bIns="0" numCol="1">
            <a:noAutofit/>
          </a:bodyPr>
          <a:lstStyle>
            <a:lvl1pPr marL="171399" indent="-17139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rgbClr val="0E1D42"/>
                </a:solidFill>
              </a:defRPr>
            </a:lvl1pPr>
            <a:lvl2pPr marL="456931" indent="0">
              <a:lnSpc>
                <a:spcPts val="1799"/>
              </a:lnSpc>
              <a:spcBef>
                <a:spcPts val="0"/>
              </a:spcBef>
              <a:buNone/>
              <a:defRPr sz="1400"/>
            </a:lvl2pPr>
            <a:lvl3pPr marL="913875" indent="0">
              <a:lnSpc>
                <a:spcPts val="1799"/>
              </a:lnSpc>
              <a:spcBef>
                <a:spcPts val="0"/>
              </a:spcBef>
              <a:buNone/>
              <a:defRPr sz="1400"/>
            </a:lvl3pPr>
            <a:lvl4pPr marL="1370808" indent="0">
              <a:lnSpc>
                <a:spcPts val="1799"/>
              </a:lnSpc>
              <a:spcBef>
                <a:spcPts val="0"/>
              </a:spcBef>
              <a:buNone/>
              <a:defRPr sz="1400"/>
            </a:lvl4pPr>
            <a:lvl5pPr marL="1827742" indent="0">
              <a:lnSpc>
                <a:spcPts val="1799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Secondary text. </a:t>
            </a:r>
          </a:p>
        </p:txBody>
      </p:sp>
      <p:sp>
        <p:nvSpPr>
          <p:cNvPr id="17" name="タイトル プレースホルダ 1">
            <a:extLst>
              <a:ext uri="{FF2B5EF4-FFF2-40B4-BE49-F238E27FC236}">
                <a16:creationId xmlns:a16="http://schemas.microsoft.com/office/drawing/2014/main" id="{86D6FEA8-06E4-474A-8491-CD1DDAE7D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266253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22" name="スライド番号プレースホルダ 5">
            <a:extLst>
              <a:ext uri="{FF2B5EF4-FFF2-40B4-BE49-F238E27FC236}">
                <a16:creationId xmlns:a16="http://schemas.microsoft.com/office/drawing/2014/main" id="{FB98B4FE-9AC1-D142-89B5-4D3791685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3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444"/>
            <a:fld id="{E9B57936-92EF-4126-AE48-1D9D36D15E98}" type="slidenum">
              <a:rPr lang="ja-JP" altLang="en-US" smtClean="0"/>
              <a:pPr defTabSz="1218444"/>
              <a:t>‹#›</a:t>
            </a:fld>
            <a:endParaRPr lang="ja-JP" altLang="en-US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D5A74AA-F0D3-9243-967D-FEA6F7A20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3"/>
            <a:ext cx="5413722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6931" indent="0">
              <a:lnSpc>
                <a:spcPts val="1799"/>
              </a:lnSpc>
              <a:spcBef>
                <a:spcPts val="0"/>
              </a:spcBef>
              <a:buNone/>
              <a:defRPr sz="1400"/>
            </a:lvl2pPr>
            <a:lvl3pPr marL="913875" indent="0">
              <a:lnSpc>
                <a:spcPts val="1799"/>
              </a:lnSpc>
              <a:spcBef>
                <a:spcPts val="0"/>
              </a:spcBef>
              <a:buNone/>
              <a:defRPr sz="1400"/>
            </a:lvl3pPr>
            <a:lvl4pPr marL="1370808" indent="0">
              <a:lnSpc>
                <a:spcPts val="1799"/>
              </a:lnSpc>
              <a:spcBef>
                <a:spcPts val="0"/>
              </a:spcBef>
              <a:buNone/>
              <a:defRPr sz="1400"/>
            </a:lvl4pPr>
            <a:lvl5pPr marL="1827742" indent="0">
              <a:lnSpc>
                <a:spcPts val="1799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16C870C-B0F9-5A43-81FD-66BD75CC33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1151" y="1491375"/>
            <a:ext cx="5704886" cy="1464957"/>
          </a:xfrm>
        </p:spPr>
        <p:txBody>
          <a:bodyPr tIns="0" rIns="0" bIns="0" numCol="1" spcCol="126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/>
            </a:lvl1pPr>
            <a:lvl2pPr marL="456931" indent="0">
              <a:buNone/>
              <a:defRPr sz="1799" b="1"/>
            </a:lvl2pPr>
            <a:lvl3pPr marL="913875" indent="0">
              <a:buNone/>
              <a:defRPr sz="1799" b="1"/>
            </a:lvl3pPr>
            <a:lvl4pPr marL="1370808" indent="0">
              <a:buNone/>
              <a:defRPr sz="1799" b="1"/>
            </a:lvl4pPr>
            <a:lvl5pPr marL="1827742" indent="0">
              <a:buNone/>
              <a:defRPr sz="1799" b="1"/>
            </a:lvl5pPr>
          </a:lstStyle>
          <a:p>
            <a:pPr lvl="0"/>
            <a:r>
              <a:rPr lang="en-US" dirty="0"/>
              <a:t>This is your Primary Text.</a:t>
            </a:r>
            <a:endParaRPr lang="en-JP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C64E591A-1A88-9244-AC81-5B42BFE347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1150" y="1093767"/>
            <a:ext cx="5704886" cy="272786"/>
          </a:xfrm>
        </p:spPr>
        <p:txBody>
          <a:bodyPr tIns="0" rIns="0" bIns="0" numCol="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999" b="1">
                <a:solidFill>
                  <a:srgbClr val="2A419A"/>
                </a:solidFill>
              </a:defRPr>
            </a:lvl1pPr>
            <a:lvl2pPr marL="456931" indent="0">
              <a:lnSpc>
                <a:spcPts val="1799"/>
              </a:lnSpc>
              <a:spcBef>
                <a:spcPts val="0"/>
              </a:spcBef>
              <a:buNone/>
              <a:defRPr sz="1400"/>
            </a:lvl2pPr>
            <a:lvl3pPr marL="913875" indent="0">
              <a:lnSpc>
                <a:spcPts val="1799"/>
              </a:lnSpc>
              <a:spcBef>
                <a:spcPts val="0"/>
              </a:spcBef>
              <a:buNone/>
              <a:defRPr sz="1400"/>
            </a:lvl3pPr>
            <a:lvl4pPr marL="1370808" indent="0">
              <a:lnSpc>
                <a:spcPts val="1799"/>
              </a:lnSpc>
              <a:spcBef>
                <a:spcPts val="0"/>
              </a:spcBef>
              <a:buNone/>
              <a:defRPr sz="1400"/>
            </a:lvl4pPr>
            <a:lvl5pPr marL="1827742" indent="0">
              <a:lnSpc>
                <a:spcPts val="1799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your Primary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C32A787-1591-E0DA-3326-144E3EA5301D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sz="1799" dirty="0">
              <a:solidFill>
                <a:schemeClr val="accent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FF744F6-2B83-7146-E936-2E7C6EA2B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476740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rgbClr val="2A419A"/>
                </a:solidFill>
                <a:latin typeface="HelveticaNeueLT Pro 75 Bd" panose="020B080402020202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866513" y="376180"/>
            <a:ext cx="6326533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rgbClr val="2A4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23DDF8-6B95-CC1A-B180-283648BB1E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729" y="376180"/>
            <a:ext cx="1459717" cy="1182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573485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4354731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rgbClr val="2A419A"/>
                </a:solidFill>
                <a:latin typeface="HelveticaNeueLT Pro 75 Bd" panose="020B080402020202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866513" y="376180"/>
            <a:ext cx="6326533" cy="6108535"/>
          </a:xfrm>
          <a:custGeom>
            <a:avLst/>
            <a:gdLst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3409714 w 6462532"/>
              <a:gd name="connsiteY2" fmla="*/ 0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309764"/>
              <a:gd name="connsiteY0" fmla="*/ 3060215 h 6113033"/>
              <a:gd name="connsiteX1" fmla="*/ 3052818 w 7309764"/>
              <a:gd name="connsiteY1" fmla="*/ 7397 h 6113033"/>
              <a:gd name="connsiteX2" fmla="*/ 6592752 w 7309764"/>
              <a:gd name="connsiteY2" fmla="*/ 53695 h 6113033"/>
              <a:gd name="connsiteX3" fmla="*/ 6462532 w 7309764"/>
              <a:gd name="connsiteY3" fmla="*/ 3060215 h 6113033"/>
              <a:gd name="connsiteX4" fmla="*/ 6462532 w 7309764"/>
              <a:gd name="connsiteY4" fmla="*/ 3060215 h 6113033"/>
              <a:gd name="connsiteX5" fmla="*/ 3409714 w 7309764"/>
              <a:gd name="connsiteY5" fmla="*/ 6113033 h 6113033"/>
              <a:gd name="connsiteX6" fmla="*/ 3052818 w 7309764"/>
              <a:gd name="connsiteY6" fmla="*/ 6113033 h 6113033"/>
              <a:gd name="connsiteX7" fmla="*/ 0 w 7309764"/>
              <a:gd name="connsiteY7" fmla="*/ 3060215 h 6113033"/>
              <a:gd name="connsiteX0" fmla="*/ 0 w 7309764"/>
              <a:gd name="connsiteY0" fmla="*/ 3052818 h 6105636"/>
              <a:gd name="connsiteX1" fmla="*/ 3052818 w 7309764"/>
              <a:gd name="connsiteY1" fmla="*/ 0 h 6105636"/>
              <a:gd name="connsiteX2" fmla="*/ 6592752 w 7309764"/>
              <a:gd name="connsiteY2" fmla="*/ 46298 h 6105636"/>
              <a:gd name="connsiteX3" fmla="*/ 6462532 w 7309764"/>
              <a:gd name="connsiteY3" fmla="*/ 3052818 h 6105636"/>
              <a:gd name="connsiteX4" fmla="*/ 6462532 w 7309764"/>
              <a:gd name="connsiteY4" fmla="*/ 3052818 h 6105636"/>
              <a:gd name="connsiteX5" fmla="*/ 3409714 w 7309764"/>
              <a:gd name="connsiteY5" fmla="*/ 6105636 h 6105636"/>
              <a:gd name="connsiteX6" fmla="*/ 3052818 w 7309764"/>
              <a:gd name="connsiteY6" fmla="*/ 6105636 h 6105636"/>
              <a:gd name="connsiteX7" fmla="*/ 0 w 7309764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7162978"/>
              <a:gd name="connsiteY0" fmla="*/ 3052818 h 6105636"/>
              <a:gd name="connsiteX1" fmla="*/ 3052818 w 7162978"/>
              <a:gd name="connsiteY1" fmla="*/ 0 h 6105636"/>
              <a:gd name="connsiteX2" fmla="*/ 6395982 w 7162978"/>
              <a:gd name="connsiteY2" fmla="*/ 11574 h 6105636"/>
              <a:gd name="connsiteX3" fmla="*/ 6462532 w 7162978"/>
              <a:gd name="connsiteY3" fmla="*/ 3052818 h 6105636"/>
              <a:gd name="connsiteX4" fmla="*/ 6462532 w 7162978"/>
              <a:gd name="connsiteY4" fmla="*/ 3052818 h 6105636"/>
              <a:gd name="connsiteX5" fmla="*/ 3409714 w 7162978"/>
              <a:gd name="connsiteY5" fmla="*/ 6105636 h 6105636"/>
              <a:gd name="connsiteX6" fmla="*/ 3052818 w 7162978"/>
              <a:gd name="connsiteY6" fmla="*/ 6105636 h 6105636"/>
              <a:gd name="connsiteX7" fmla="*/ 0 w 7162978"/>
              <a:gd name="connsiteY7" fmla="*/ 3052818 h 6105636"/>
              <a:gd name="connsiteX0" fmla="*/ 0 w 6750471"/>
              <a:gd name="connsiteY0" fmla="*/ 3052818 h 6105636"/>
              <a:gd name="connsiteX1" fmla="*/ 3052818 w 6750471"/>
              <a:gd name="connsiteY1" fmla="*/ 0 h 6105636"/>
              <a:gd name="connsiteX2" fmla="*/ 6395982 w 6750471"/>
              <a:gd name="connsiteY2" fmla="*/ 11574 h 6105636"/>
              <a:gd name="connsiteX3" fmla="*/ 6462532 w 6750471"/>
              <a:gd name="connsiteY3" fmla="*/ 3052818 h 6105636"/>
              <a:gd name="connsiteX4" fmla="*/ 6462532 w 6750471"/>
              <a:gd name="connsiteY4" fmla="*/ 3052818 h 6105636"/>
              <a:gd name="connsiteX5" fmla="*/ 3409714 w 6750471"/>
              <a:gd name="connsiteY5" fmla="*/ 6105636 h 6105636"/>
              <a:gd name="connsiteX6" fmla="*/ 3052818 w 6750471"/>
              <a:gd name="connsiteY6" fmla="*/ 6105636 h 6105636"/>
              <a:gd name="connsiteX7" fmla="*/ 0 w 6750471"/>
              <a:gd name="connsiteY7" fmla="*/ 3052818 h 6105636"/>
              <a:gd name="connsiteX0" fmla="*/ 0 w 6462532"/>
              <a:gd name="connsiteY0" fmla="*/ 3052818 h 6105636"/>
              <a:gd name="connsiteX1" fmla="*/ 3052818 w 6462532"/>
              <a:gd name="connsiteY1" fmla="*/ 0 h 6105636"/>
              <a:gd name="connsiteX2" fmla="*/ 6395982 w 6462532"/>
              <a:gd name="connsiteY2" fmla="*/ 11574 h 6105636"/>
              <a:gd name="connsiteX3" fmla="*/ 6462532 w 6462532"/>
              <a:gd name="connsiteY3" fmla="*/ 3052818 h 6105636"/>
              <a:gd name="connsiteX4" fmla="*/ 6462532 w 6462532"/>
              <a:gd name="connsiteY4" fmla="*/ 3052818 h 6105636"/>
              <a:gd name="connsiteX5" fmla="*/ 3409714 w 6462532"/>
              <a:gd name="connsiteY5" fmla="*/ 6105636 h 6105636"/>
              <a:gd name="connsiteX6" fmla="*/ 3052818 w 6462532"/>
              <a:gd name="connsiteY6" fmla="*/ 6105636 h 6105636"/>
              <a:gd name="connsiteX7" fmla="*/ 0 w 6462532"/>
              <a:gd name="connsiteY7" fmla="*/ 3052818 h 6105636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6462532 w 6477004"/>
              <a:gd name="connsiteY4" fmla="*/ 3052819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5756477 w 6477004"/>
              <a:gd name="connsiteY4" fmla="*/ 3018095 h 6105637"/>
              <a:gd name="connsiteX5" fmla="*/ 3409714 w 6477004"/>
              <a:gd name="connsiteY5" fmla="*/ 6105637 h 6105637"/>
              <a:gd name="connsiteX6" fmla="*/ 3052818 w 6477004"/>
              <a:gd name="connsiteY6" fmla="*/ 6105637 h 6105637"/>
              <a:gd name="connsiteX7" fmla="*/ 0 w 6477004"/>
              <a:gd name="connsiteY7" fmla="*/ 3052819 h 6105637"/>
              <a:gd name="connsiteX0" fmla="*/ 0 w 6477004"/>
              <a:gd name="connsiteY0" fmla="*/ 3052819 h 6105637"/>
              <a:gd name="connsiteX1" fmla="*/ 3052818 w 6477004"/>
              <a:gd name="connsiteY1" fmla="*/ 1 h 6105637"/>
              <a:gd name="connsiteX2" fmla="*/ 6477004 w 6477004"/>
              <a:gd name="connsiteY2" fmla="*/ 0 h 6105637"/>
              <a:gd name="connsiteX3" fmla="*/ 6462532 w 6477004"/>
              <a:gd name="connsiteY3" fmla="*/ 3052819 h 6105637"/>
              <a:gd name="connsiteX4" fmla="*/ 3409714 w 6477004"/>
              <a:gd name="connsiteY4" fmla="*/ 6105637 h 6105637"/>
              <a:gd name="connsiteX5" fmla="*/ 3052818 w 6477004"/>
              <a:gd name="connsiteY5" fmla="*/ 6105637 h 6105637"/>
              <a:gd name="connsiteX6" fmla="*/ 0 w 6477004"/>
              <a:gd name="connsiteY6" fmla="*/ 3052819 h 6105637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462532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477004"/>
              <a:gd name="connsiteY0" fmla="*/ 3052819 h 6108535"/>
              <a:gd name="connsiteX1" fmla="*/ 3052818 w 6477004"/>
              <a:gd name="connsiteY1" fmla="*/ 1 h 6108535"/>
              <a:gd name="connsiteX2" fmla="*/ 6477004 w 6477004"/>
              <a:gd name="connsiteY2" fmla="*/ 0 h 6108535"/>
              <a:gd name="connsiteX3" fmla="*/ 6323635 w 6477004"/>
              <a:gd name="connsiteY3" fmla="*/ 6108535 h 6108535"/>
              <a:gd name="connsiteX4" fmla="*/ 3409714 w 6477004"/>
              <a:gd name="connsiteY4" fmla="*/ 6105637 h 6108535"/>
              <a:gd name="connsiteX5" fmla="*/ 3052818 w 6477004"/>
              <a:gd name="connsiteY5" fmla="*/ 6105637 h 6108535"/>
              <a:gd name="connsiteX6" fmla="*/ 0 w 6477004"/>
              <a:gd name="connsiteY6" fmla="*/ 3052819 h 6108535"/>
              <a:gd name="connsiteX0" fmla="*/ 0 w 6326533"/>
              <a:gd name="connsiteY0" fmla="*/ 3052819 h 6108535"/>
              <a:gd name="connsiteX1" fmla="*/ 3052818 w 6326533"/>
              <a:gd name="connsiteY1" fmla="*/ 1 h 6108535"/>
              <a:gd name="connsiteX2" fmla="*/ 6326533 w 6326533"/>
              <a:gd name="connsiteY2" fmla="*/ 0 h 6108535"/>
              <a:gd name="connsiteX3" fmla="*/ 6323635 w 6326533"/>
              <a:gd name="connsiteY3" fmla="*/ 6108535 h 6108535"/>
              <a:gd name="connsiteX4" fmla="*/ 3409714 w 6326533"/>
              <a:gd name="connsiteY4" fmla="*/ 6105637 h 6108535"/>
              <a:gd name="connsiteX5" fmla="*/ 3052818 w 6326533"/>
              <a:gd name="connsiteY5" fmla="*/ 6105637 h 6108535"/>
              <a:gd name="connsiteX6" fmla="*/ 0 w 6326533"/>
              <a:gd name="connsiteY6" fmla="*/ 3052819 h 6108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26533" h="6108535">
                <a:moveTo>
                  <a:pt x="0" y="3052819"/>
                </a:moveTo>
                <a:cubicBezTo>
                  <a:pt x="0" y="1366794"/>
                  <a:pt x="1366793" y="1"/>
                  <a:pt x="3052818" y="1"/>
                </a:cubicBezTo>
                <a:lnTo>
                  <a:pt x="6326533" y="0"/>
                </a:lnTo>
                <a:lnTo>
                  <a:pt x="6323635" y="6108535"/>
                </a:lnTo>
                <a:lnTo>
                  <a:pt x="3409714" y="6105637"/>
                </a:lnTo>
                <a:lnTo>
                  <a:pt x="3052818" y="6105637"/>
                </a:lnTo>
                <a:cubicBezTo>
                  <a:pt x="1366793" y="6105637"/>
                  <a:pt x="0" y="4738844"/>
                  <a:pt x="0" y="3052819"/>
                </a:cubicBezTo>
                <a:close/>
              </a:path>
            </a:pathLst>
          </a:custGeom>
          <a:noFill/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rgbClr val="2A4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4354732" cy="234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952A55B-DBCB-0582-8C5A-1BCE850407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36665" y="681864"/>
            <a:ext cx="3074200" cy="974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384324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6862150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rgbClr val="2A419A"/>
                </a:solidFill>
                <a:latin typeface="HelveticaNeueLT Pro 75 Bd" panose="020B080402020202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rgbClr val="2A4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9" y="6319955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DD788B-8935-215D-BD51-FAFE741EBA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743" y="398207"/>
            <a:ext cx="1335840" cy="108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019747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Pag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E02383DA-65B3-044E-9E1B-2CC00A0B1C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94730" y="2303030"/>
            <a:ext cx="6862150" cy="1125969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>
              <a:lnSpc>
                <a:spcPts val="3800"/>
              </a:lnSpc>
              <a:defRPr sz="3600" b="1" i="0" baseline="0">
                <a:solidFill>
                  <a:srgbClr val="2A419A"/>
                </a:solidFill>
                <a:latin typeface="HelveticaNeueLT Pro 75 Bd" panose="020B0804020202020204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2F9C2FE-7E43-3948-92F0-0CEA804BDBFE}"/>
              </a:ext>
            </a:extLst>
          </p:cNvPr>
          <p:cNvSpPr/>
          <p:nvPr userDrawn="1"/>
        </p:nvSpPr>
        <p:spPr>
          <a:xfrm>
            <a:off x="749005" y="2110246"/>
            <a:ext cx="97200" cy="2707182"/>
          </a:xfrm>
          <a:prstGeom prst="rect">
            <a:avLst/>
          </a:prstGeom>
          <a:solidFill>
            <a:srgbClr val="2A4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F239D86-1AC3-1D48-9675-22CEFBB263F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94729" y="3835926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Position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1BF6710-27B9-2444-8317-2C64F0D308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94729" y="4094940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69B2D41-B11D-9D45-B189-F838AC342B0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94729" y="4349427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7467C81-9D88-4140-B42C-28DFB56464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94729" y="3577405"/>
            <a:ext cx="6862150" cy="2630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 b="0" i="0">
                <a:solidFill>
                  <a:srgbClr val="0E1D42"/>
                </a:solidFill>
                <a:latin typeface="HelveticaNeueLT Pro 35 Th" panose="020B0403020202020204" pitchFamily="34" charset="0"/>
                <a:cs typeface="Calibri" panose="020F0502020204030204" pitchFamily="34" charset="0"/>
              </a:defRPr>
            </a:lvl1pPr>
            <a:lvl2pPr marL="457068" indent="0">
              <a:buNone/>
              <a:defRPr sz="1400">
                <a:solidFill>
                  <a:schemeClr val="tx1"/>
                </a:solidFill>
              </a:defRPr>
            </a:lvl2pPr>
            <a:lvl3pPr marL="914149" indent="0">
              <a:buNone/>
              <a:defRPr sz="1400">
                <a:solidFill>
                  <a:schemeClr val="tx1"/>
                </a:solidFill>
              </a:defRPr>
            </a:lvl3pPr>
            <a:lvl4pPr marL="1371219" indent="0">
              <a:buNone/>
              <a:defRPr sz="1400">
                <a:solidFill>
                  <a:schemeClr val="tx1"/>
                </a:solidFill>
              </a:defRPr>
            </a:lvl4pPr>
            <a:lvl5pPr marL="1828290" indent="0"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9909778-A51F-784D-ACA4-EC5DBA48BE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4729" y="6319955"/>
            <a:ext cx="7699670" cy="234001"/>
          </a:xfrm>
        </p:spPr>
        <p:txBody>
          <a:bodyPr tIns="0" rIns="0" bIns="0" anchor="ctr" anchorCtr="0">
            <a:noAutofit/>
          </a:bodyPr>
          <a:lstStyle>
            <a:lvl1pPr marL="0" marR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rivate and confidential. For internal use only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F6784F-BD21-4975-AE26-1760033FD9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8510" y="593088"/>
            <a:ext cx="3158073" cy="974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493992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B754E49-982A-C545-81D8-743D6EBF40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77115" y="138868"/>
            <a:ext cx="872252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679422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F9CDB0-5730-E246-B31F-F5963CF8EFDC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B200DD-94A4-EAAF-C631-9124ED1AB0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887158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1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D2406EE-A554-5348-AE6D-4D8B343E62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1150" y="1102385"/>
            <a:ext cx="11569700" cy="5328857"/>
          </a:xfrm>
          <a:prstGeom prst="rect">
            <a:avLst/>
          </a:prstGeom>
        </p:spPr>
        <p:txBody>
          <a:bodyPr tIns="0" rIns="0" bIns="0" numCol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>
                <a:solidFill>
                  <a:srgbClr val="0E1D42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This is a one-column layout. Click to add content</a:t>
            </a:r>
          </a:p>
        </p:txBody>
      </p:sp>
      <p:sp>
        <p:nvSpPr>
          <p:cNvPr id="19" name="Footer Placeholder 8">
            <a:extLst>
              <a:ext uri="{FF2B5EF4-FFF2-40B4-BE49-F238E27FC236}">
                <a16:creationId xmlns:a16="http://schemas.microsoft.com/office/drawing/2014/main" id="{CDA06C55-0643-C148-AAB1-C4BB26FD7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523001"/>
            <a:ext cx="4114800" cy="196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22" name="タイトル プレースホルダ 1">
            <a:extLst>
              <a:ext uri="{FF2B5EF4-FFF2-40B4-BE49-F238E27FC236}">
                <a16:creationId xmlns:a16="http://schemas.microsoft.com/office/drawing/2014/main" id="{86D2E5B8-9E2B-DB46-A55A-5F26569C4F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078" y="161605"/>
            <a:ext cx="9940253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defRPr>
                <a:solidFill>
                  <a:srgbClr val="2A419A"/>
                </a:solidFill>
              </a:defRPr>
            </a:lvl1pPr>
          </a:lstStyle>
          <a:p>
            <a:r>
              <a:rPr kumimoji="1" lang="en-US" altLang="ja-JP" dirty="0"/>
              <a:t>Click to add title</a:t>
            </a:r>
            <a:endParaRPr kumimoji="1" lang="ja-JP" altLang="en-US" dirty="0"/>
          </a:p>
        </p:txBody>
      </p:sp>
      <p:sp>
        <p:nvSpPr>
          <p:cNvPr id="20" name="スライド番号プレースホルダ 5">
            <a:extLst>
              <a:ext uri="{FF2B5EF4-FFF2-40B4-BE49-F238E27FC236}">
                <a16:creationId xmlns:a16="http://schemas.microsoft.com/office/drawing/2014/main" id="{51A4825E-63A1-564F-BC3A-FBC167ECE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523001"/>
            <a:ext cx="294928" cy="196131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4EB3013-FCB4-1B4E-A9F2-FD57CF727C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078" y="6523001"/>
            <a:ext cx="6968348" cy="205613"/>
          </a:xfrm>
          <a:prstGeom prst="rect">
            <a:avLst/>
          </a:prstGeom>
        </p:spPr>
        <p:txBody>
          <a:bodyPr wrap="none" tIns="0" rIns="0" bIns="72000" numCol="1" anchor="ctr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b="0">
                <a:solidFill>
                  <a:schemeClr val="accent3"/>
                </a:solidFill>
              </a:defRPr>
            </a:lvl1pPr>
            <a:lvl2pPr marL="457068" indent="0">
              <a:lnSpc>
                <a:spcPts val="1800"/>
              </a:lnSpc>
              <a:spcBef>
                <a:spcPts val="0"/>
              </a:spcBef>
              <a:buNone/>
              <a:defRPr sz="1400"/>
            </a:lvl2pPr>
            <a:lvl3pPr marL="914149" indent="0">
              <a:lnSpc>
                <a:spcPts val="1800"/>
              </a:lnSpc>
              <a:spcBef>
                <a:spcPts val="0"/>
              </a:spcBef>
              <a:buNone/>
              <a:defRPr sz="1400"/>
            </a:lvl3pPr>
            <a:lvl4pPr marL="1371219" indent="0">
              <a:lnSpc>
                <a:spcPts val="1800"/>
              </a:lnSpc>
              <a:spcBef>
                <a:spcPts val="0"/>
              </a:spcBef>
              <a:buNone/>
              <a:defRPr sz="1400"/>
            </a:lvl4pPr>
            <a:lvl5pPr marL="1828290" indent="0">
              <a:lnSpc>
                <a:spcPts val="1800"/>
              </a:lnSpc>
              <a:spcBef>
                <a:spcPts val="0"/>
              </a:spcBef>
              <a:buNone/>
              <a:defRPr sz="1400"/>
            </a:lvl5pPr>
          </a:lstStyle>
          <a:p>
            <a:pPr lvl="0"/>
            <a:r>
              <a:rPr lang="en-US" dirty="0"/>
              <a:t>Private and confidential. For internal use only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04C9EF-A49C-8C27-5B5F-6819932FE4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5632" y="138868"/>
            <a:ext cx="935218" cy="75743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7075FD9-D98E-3A2F-D7A5-A6A7A2409800}"/>
              </a:ext>
            </a:extLst>
          </p:cNvPr>
          <p:cNvSpPr/>
          <p:nvPr userDrawn="1"/>
        </p:nvSpPr>
        <p:spPr>
          <a:xfrm>
            <a:off x="308038" y="161606"/>
            <a:ext cx="54000" cy="685800"/>
          </a:xfrm>
          <a:prstGeom prst="rect">
            <a:avLst/>
          </a:prstGeom>
          <a:solidFill>
            <a:srgbClr val="2A419A"/>
          </a:solidFill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JP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969423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83D300-2124-42DF-B73B-3D3D4C546E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585269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32" imgW="395" imgH="394" progId="TCLayout.ActiveDocument.1">
                  <p:embed/>
                </p:oleObj>
              </mc:Choice>
              <mc:Fallback>
                <p:oleObj name="think-cell Slide" r:id="rId32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83D300-2124-42DF-B73B-3D3D4C546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895B28-7064-4AD0-A15D-88F99BCA9BAD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800" b="0" i="0" baseline="0" dirty="0">
              <a:latin typeface="Calibri" panose="020F0502020204030204" pitchFamily="34" charset="0"/>
              <a:ea typeface="メイリオ" panose="020B060403050404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311150" y="1233487"/>
            <a:ext cx="11569700" cy="5183187"/>
          </a:xfrm>
          <a:prstGeom prst="rect">
            <a:avLst/>
          </a:prstGeom>
        </p:spPr>
        <p:txBody>
          <a:bodyPr vert="horz" lIns="0" tIns="45710" rIns="91420" bIns="45710" rtlCol="0">
            <a:normAutofit/>
          </a:bodyPr>
          <a:lstStyle/>
          <a:p>
            <a:pPr lvl="0"/>
            <a:r>
              <a:rPr kumimoji="1" lang="en-US" altLang="ja-JP" dirty="0"/>
              <a:t>Master text</a:t>
            </a:r>
            <a:endParaRPr kumimoji="1" lang="ja-JP" altLang="en-US" dirty="0"/>
          </a:p>
        </p:txBody>
      </p:sp>
      <p:sp>
        <p:nvSpPr>
          <p:cNvPr id="11" name="Footer Placeholder 8">
            <a:extLst>
              <a:ext uri="{FF2B5EF4-FFF2-40B4-BE49-F238E27FC236}">
                <a16:creationId xmlns:a16="http://schemas.microsoft.com/office/drawing/2014/main" id="{44E43001-C216-284A-9EBD-E54B5DD29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66050" y="6489701"/>
            <a:ext cx="4114800" cy="2294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1" spc="100" baseline="0">
                <a:solidFill>
                  <a:schemeClr val="tx1"/>
                </a:solidFill>
              </a:defRPr>
            </a:lvl1pPr>
          </a:lstStyle>
          <a:p>
            <a:r>
              <a:rPr lang="en-JP" dirty="0"/>
              <a:t> </a:t>
            </a:r>
          </a:p>
        </p:txBody>
      </p:sp>
      <p:sp>
        <p:nvSpPr>
          <p:cNvPr id="9" name="タイトル プレースホルダ 1">
            <a:extLst>
              <a:ext uri="{FF2B5EF4-FFF2-40B4-BE49-F238E27FC236}">
                <a16:creationId xmlns:a16="http://schemas.microsoft.com/office/drawing/2014/main" id="{D7981A12-E00B-604C-B863-7CBF31AA6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078" y="161605"/>
            <a:ext cx="9895084" cy="685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kumimoji="1" lang="en-US" altLang="ja-JP" dirty="0"/>
              <a:t>Master title</a:t>
            </a:r>
            <a:endParaRPr kumimoji="1" lang="ja-JP" altLang="en-US" dirty="0"/>
          </a:p>
        </p:txBody>
      </p:sp>
      <p:sp>
        <p:nvSpPr>
          <p:cNvPr id="13" name="スライド番号プレースホルダ 5">
            <a:extLst>
              <a:ext uri="{FF2B5EF4-FFF2-40B4-BE49-F238E27FC236}">
                <a16:creationId xmlns:a16="http://schemas.microsoft.com/office/drawing/2014/main" id="{C7AA5A17-3F2F-B94B-9342-A137057B8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150" y="6489701"/>
            <a:ext cx="589856" cy="229432"/>
          </a:xfrm>
          <a:prstGeom prst="rect">
            <a:avLst/>
          </a:prstGeom>
        </p:spPr>
        <p:txBody>
          <a:bodyPr vert="horz" lIns="0" tIns="45710" rIns="0" bIns="45710" rtlCol="0" anchor="ctr"/>
          <a:lstStyle>
            <a:lvl1pPr algn="l">
              <a:defRPr sz="800" b="1" i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anose="020F0502020204030204" pitchFamily="34" charset="0"/>
              </a:defRPr>
            </a:lvl1pPr>
          </a:lstStyle>
          <a:p>
            <a:pPr defTabSz="1218810"/>
            <a:fld id="{E9B57936-92EF-4126-AE48-1D9D36D15E98}" type="slidenum">
              <a:rPr lang="ja-JP" altLang="en-US" smtClean="0"/>
              <a:pPr defTabSz="1218810"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83548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4005" r:id="rId2"/>
    <p:sldLayoutId id="2147483910" r:id="rId3"/>
    <p:sldLayoutId id="2147484004" r:id="rId4"/>
    <p:sldLayoutId id="2147483989" r:id="rId5"/>
    <p:sldLayoutId id="2147484003" r:id="rId6"/>
    <p:sldLayoutId id="2147483986" r:id="rId7"/>
    <p:sldLayoutId id="2147483999" r:id="rId8"/>
    <p:sldLayoutId id="2147483997" r:id="rId9"/>
    <p:sldLayoutId id="2147483987" r:id="rId10"/>
    <p:sldLayoutId id="2147483961" r:id="rId11"/>
    <p:sldLayoutId id="2147483988" r:id="rId12"/>
    <p:sldLayoutId id="2147483920" r:id="rId13"/>
    <p:sldLayoutId id="2147483922" r:id="rId14"/>
    <p:sldLayoutId id="2147483930" r:id="rId15"/>
    <p:sldLayoutId id="2147483924" r:id="rId16"/>
    <p:sldLayoutId id="2147483931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4006" r:id="rId23"/>
    <p:sldLayoutId id="2147484002" r:id="rId24"/>
    <p:sldLayoutId id="2147484001" r:id="rId25"/>
    <p:sldLayoutId id="2147484000" r:id="rId26"/>
    <p:sldLayoutId id="2147483998" r:id="rId27"/>
  </p:sldLayoutIdLst>
  <p:transition spd="slow">
    <p:fade/>
  </p:transition>
  <p:hf hdr="0" dt="0"/>
  <p:txStyles>
    <p:titleStyle>
      <a:lvl1pPr algn="l" defTabSz="914150" rtl="0" eaLnBrk="1" latinLnBrk="0" hangingPunct="1">
        <a:lnSpc>
          <a:spcPts val="2800"/>
        </a:lnSpc>
        <a:spcBef>
          <a:spcPct val="0"/>
        </a:spcBef>
        <a:buNone/>
        <a:defRPr kumimoji="1" sz="2800" b="1" i="0" kern="1200" baseline="0">
          <a:solidFill>
            <a:srgbClr val="0E1D42"/>
          </a:solidFill>
          <a:latin typeface="HelveticaNeueLT Pro 75 Bd" panose="020B0804020202020204" pitchFamily="34" charset="0"/>
          <a:ea typeface="メイリオ" pitchFamily="50" charset="-128"/>
          <a:cs typeface="Calibri" pitchFamily="34" charset="0"/>
        </a:defRPr>
      </a:lvl1pPr>
    </p:titleStyle>
    <p:bodyStyle>
      <a:lvl1pPr marL="457071" indent="-457071" algn="l" defTabSz="91415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000" b="0" i="0" kern="1200" baseline="0">
          <a:solidFill>
            <a:srgbClr val="0E1D42"/>
          </a:solidFill>
          <a:latin typeface="HelveticaNeueLT Pro 35 Th" panose="020B0403020202020204" pitchFamily="34" charset="0"/>
          <a:ea typeface="メイリオ" pitchFamily="50" charset="-128"/>
          <a:cs typeface="Calibri" pitchFamily="34" charset="0"/>
        </a:defRPr>
      </a:lvl1pPr>
      <a:lvl2pPr marL="742745" indent="-285677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2pPr>
      <a:lvl3pPr marL="114269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3pPr>
      <a:lvl4pPr marL="1599760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4pPr>
      <a:lvl5pPr marL="2056831" indent="-228541" algn="l" defTabSz="91415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b="0" i="0" kern="1200" baseline="0">
          <a:solidFill>
            <a:schemeClr val="tx1"/>
          </a:solidFill>
          <a:latin typeface="Calibri" panose="020F0502020204030204" pitchFamily="34" charset="0"/>
          <a:ea typeface="メイリオ" pitchFamily="50" charset="-128"/>
          <a:cs typeface="Calibri" pitchFamily="34" charset="0"/>
        </a:defRPr>
      </a:lvl5pPr>
      <a:lvl6pPr marL="2513910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6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61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42" indent="-228541" algn="l" defTabSz="91415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07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1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6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30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382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45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1" algn="l" defTabSz="914150" rtl="0" eaLnBrk="1" latinLnBrk="0" hangingPunct="1">
        <a:defRPr kumimoji="1"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77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pos="7491" userDrawn="1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370" userDrawn="1">
          <p15:clr>
            <a:srgbClr val="F26B43"/>
          </p15:clr>
        </p15:guide>
        <p15:guide id="6" orient="horz" pos="40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office@c4ir.rs" TargetMode="External"/><Relationship Id="rId2" Type="http://schemas.openxmlformats.org/officeDocument/2006/relationships/hyperlink" Target="http://www.c4ir.rs/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AF637-23CB-E083-E80B-26E62110E4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66460" y="2514599"/>
            <a:ext cx="4354731" cy="2543176"/>
          </a:xfrm>
        </p:spPr>
        <p:txBody>
          <a:bodyPr>
            <a:normAutofit/>
          </a:bodyPr>
          <a:lstStyle/>
          <a:p>
            <a:r>
              <a:rPr lang="sr-Latn-RS" sz="3000" dirty="0"/>
              <a:t>C4IR Srbija: </a:t>
            </a:r>
            <a:br>
              <a:rPr lang="sr-Latn-RS" sz="3000" dirty="0"/>
            </a:br>
            <a:r>
              <a:rPr lang="pl-PL" sz="3000" dirty="0"/>
              <a:t>Skladištenje i obrada genomskih podataka</a:t>
            </a:r>
            <a:br>
              <a:rPr lang="pl-PL" sz="3100" dirty="0"/>
            </a:br>
            <a:br>
              <a:rPr lang="pl-PL" sz="3100" dirty="0"/>
            </a:br>
            <a:r>
              <a:rPr lang="pl-PL" sz="2000" b="0" dirty="0"/>
              <a:t>Branislava Gemović</a:t>
            </a:r>
            <a:endParaRPr lang="en-US" sz="2000" b="0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B6F3C7FB-C926-42E9-B0B6-DCD5158B3B7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1" r="21301"/>
          <a:stretch/>
        </p:blipFill>
        <p:spPr>
          <a:xfrm>
            <a:off x="5865813" y="304800"/>
            <a:ext cx="6327775" cy="6108700"/>
          </a:xfrm>
        </p:spPr>
      </p:pic>
    </p:spTree>
    <p:extLst>
      <p:ext uri="{BB962C8B-B14F-4D97-AF65-F5344CB8AC3E}">
        <p14:creationId xmlns:p14="http://schemas.microsoft.com/office/powerpoint/2010/main" val="23973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047366B-9BE1-408C-BC86-9E07B5929B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1150" y="1102385"/>
            <a:ext cx="5784850" cy="5328857"/>
          </a:xfrm>
        </p:spPr>
        <p:txBody>
          <a:bodyPr>
            <a:normAutofit/>
          </a:bodyPr>
          <a:lstStyle/>
          <a:p>
            <a:r>
              <a:rPr lang="sr-Latn-RS" sz="2200" b="1" dirty="0"/>
              <a:t>Pretraživanje podataka</a:t>
            </a:r>
          </a:p>
          <a:p>
            <a:endParaRPr lang="sr-Latn-RS" sz="2200" b="1" dirty="0"/>
          </a:p>
          <a:p>
            <a:r>
              <a:rPr lang="sr-Latn-RS" sz="2000" dirty="0" err="1"/>
              <a:t>Browsing</a:t>
            </a:r>
            <a:r>
              <a:rPr lang="sr-Latn-RS" sz="2000" dirty="0"/>
              <a:t> kataloga podataka</a:t>
            </a:r>
          </a:p>
          <a:p>
            <a:pPr lvl="1"/>
            <a:r>
              <a:rPr lang="sr-Latn-RS" sz="1800" dirty="0"/>
              <a:t>Kategorije podataka organizovane u strukturu </a:t>
            </a:r>
            <a:r>
              <a:rPr lang="sr-Latn-RS" sz="1800" dirty="0" err="1"/>
              <a:t>drvceta</a:t>
            </a:r>
            <a:endParaRPr lang="sr-Latn-RS" sz="1800" dirty="0"/>
          </a:p>
          <a:p>
            <a:pPr lvl="1"/>
            <a:r>
              <a:rPr lang="sr-Latn-RS" sz="1800" dirty="0"/>
              <a:t>Opis polja sa podacima</a:t>
            </a:r>
          </a:p>
          <a:p>
            <a:pPr lvl="1"/>
            <a:r>
              <a:rPr lang="sr-Latn-RS" sz="1800" dirty="0"/>
              <a:t>Statistički pregled podataka</a:t>
            </a:r>
          </a:p>
          <a:p>
            <a:r>
              <a:rPr lang="sr-Latn-RS" sz="2000" dirty="0"/>
              <a:t>Pretraživanje podataka</a:t>
            </a:r>
          </a:p>
          <a:p>
            <a:pPr lvl="1"/>
            <a:r>
              <a:rPr lang="sr-Latn-RS" sz="1800" dirty="0"/>
              <a:t>Pretraživanje istraživačkih studija</a:t>
            </a:r>
          </a:p>
          <a:p>
            <a:pPr lvl="1"/>
            <a:r>
              <a:rPr lang="sr-Latn-RS" sz="1800" dirty="0"/>
              <a:t>Pretraživanje genetičkih varijanti (ID varijante, pozicija na hromozomu, gen)</a:t>
            </a:r>
          </a:p>
          <a:p>
            <a:r>
              <a:rPr lang="sr-Latn-RS" sz="2000" dirty="0"/>
              <a:t>Filtriranje podataka</a:t>
            </a:r>
          </a:p>
          <a:p>
            <a:pPr lvl="1"/>
            <a:r>
              <a:rPr lang="sr-Latn-RS" sz="1800" dirty="0"/>
              <a:t>Primena kriterijuma za selekciju kohorte</a:t>
            </a:r>
          </a:p>
          <a:p>
            <a:pPr lvl="2"/>
            <a:r>
              <a:rPr lang="sr-Latn-RS" sz="1800" dirty="0"/>
              <a:t>Domen (dijagnoza, klinička procedura, …)</a:t>
            </a:r>
          </a:p>
          <a:p>
            <a:pPr lvl="2"/>
            <a:r>
              <a:rPr lang="sr-Latn-RS" sz="1800" dirty="0"/>
              <a:t>Demografski kriterijumi</a:t>
            </a:r>
          </a:p>
          <a:p>
            <a:pPr lvl="2"/>
            <a:r>
              <a:rPr lang="sr-Latn-RS" sz="1800" dirty="0"/>
              <a:t>Vremenski kriterijum</a:t>
            </a:r>
            <a:endParaRPr lang="en-US" sz="1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043CDE-80F8-403D-915E-5339679BE1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CB95F662-0F0B-485D-B006-978E88B56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Pretraživanje i pristup podacim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52B19E-6A70-4123-B2F4-0D39A0CC17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0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7B13013F-5A8D-4544-8B9F-6AAA1B28EAEF}"/>
              </a:ext>
            </a:extLst>
          </p:cNvPr>
          <p:cNvSpPr txBox="1">
            <a:spLocks/>
          </p:cNvSpPr>
          <p:nvPr/>
        </p:nvSpPr>
        <p:spPr>
          <a:xfrm>
            <a:off x="6258310" y="1102384"/>
            <a:ext cx="5784850" cy="5328857"/>
          </a:xfrm>
          <a:prstGeom prst="rect">
            <a:avLst/>
          </a:prstGeom>
        </p:spPr>
        <p:txBody>
          <a:bodyPr vert="horz" lIns="0" tIns="0" rIns="0" bIns="0" numCol="1" rtlCol="0">
            <a:normAutofit/>
          </a:bodyPr>
          <a:lstStyle>
            <a:lvl1pPr marL="0" indent="0" algn="l" defTabSz="9141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C4948"/>
              </a:buClr>
              <a:buFont typeface="Arial" panose="020B0604020202020204" pitchFamily="34" charset="0"/>
              <a:buNone/>
              <a:defRPr kumimoji="1" sz="1600" b="0" i="0" kern="1200" baseline="0">
                <a:solidFill>
                  <a:srgbClr val="0E1D42"/>
                </a:solidFill>
                <a:latin typeface="HelveticaNeueLT Pro 35 Th" panose="020B0403020202020204" pitchFamily="34" charset="0"/>
                <a:ea typeface="メイリオ" pitchFamily="50" charset="-128"/>
                <a:cs typeface="Calibri" pitchFamily="34" charset="0"/>
              </a:defRPr>
            </a:lvl1pPr>
            <a:lvl2pPr marL="457068" indent="0" algn="l" defTabSz="914150" rtl="0" eaLnBrk="1" latinLnBrk="0" hangingPunct="1">
              <a:lnSpc>
                <a:spcPts val="1800"/>
              </a:lnSpc>
              <a:spcBef>
                <a:spcPts val="0"/>
              </a:spcBef>
              <a:buClr>
                <a:srgbClr val="4C4948"/>
              </a:buClr>
              <a:buFont typeface="Arial" pitchFamily="34" charset="0"/>
              <a:buNone/>
              <a:defRPr kumimoji="1" sz="1400" b="0" i="0" kern="120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2pPr>
            <a:lvl3pPr marL="914149" indent="0" algn="l" defTabSz="914150" rtl="0" eaLnBrk="1" latinLnBrk="0" hangingPunct="1">
              <a:lnSpc>
                <a:spcPts val="1800"/>
              </a:lnSpc>
              <a:spcBef>
                <a:spcPts val="0"/>
              </a:spcBef>
              <a:buClr>
                <a:srgbClr val="4C4948"/>
              </a:buClr>
              <a:buFont typeface="Arial" pitchFamily="34" charset="0"/>
              <a:buNone/>
              <a:defRPr kumimoji="1" sz="14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3pPr>
            <a:lvl4pPr marL="1371219" indent="0" algn="l" defTabSz="914150" rtl="0" eaLnBrk="1" latinLnBrk="0" hangingPunct="1">
              <a:lnSpc>
                <a:spcPts val="1800"/>
              </a:lnSpc>
              <a:spcBef>
                <a:spcPts val="0"/>
              </a:spcBef>
              <a:buClr>
                <a:srgbClr val="4C4948"/>
              </a:buClr>
              <a:buFont typeface="Arial" pitchFamily="34" charset="0"/>
              <a:buNone/>
              <a:defRPr kumimoji="1" sz="14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4pPr>
            <a:lvl5pPr marL="1828290" indent="0" algn="l" defTabSz="914150" rtl="0" eaLnBrk="1" latinLnBrk="0" hangingPunct="1">
              <a:lnSpc>
                <a:spcPts val="1800"/>
              </a:lnSpc>
              <a:spcBef>
                <a:spcPts val="0"/>
              </a:spcBef>
              <a:buClr>
                <a:srgbClr val="4C4948"/>
              </a:buClr>
              <a:buFont typeface="Arial" pitchFamily="34" charset="0"/>
              <a:buNone/>
              <a:defRPr kumimoji="1" sz="14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5pPr>
            <a:lvl6pPr marL="2513910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86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61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142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2200" b="1" dirty="0"/>
              <a:t>Pristup podacima</a:t>
            </a:r>
          </a:p>
          <a:p>
            <a:endParaRPr lang="sr-Latn-RS" sz="2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2000" dirty="0"/>
              <a:t>Podaci dostupni samo registrovanim istraživačima i institucija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2000" dirty="0"/>
              <a:t>Dozvola Odbora za pristup podaci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2000" dirty="0"/>
              <a:t>Kreiranje </a:t>
            </a:r>
            <a:r>
              <a:rPr lang="sr-Latn-RS" sz="2000" dirty="0" err="1"/>
              <a:t>datasetova</a:t>
            </a:r>
            <a:r>
              <a:rPr lang="sr-Latn-RS" sz="2000" dirty="0"/>
              <a:t> za izvoz sa Platfor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2000" dirty="0" err="1"/>
              <a:t>Pseudonimizovani</a:t>
            </a:r>
            <a:r>
              <a:rPr lang="sr-Latn-RS" sz="2000" dirty="0"/>
              <a:t> ili </a:t>
            </a:r>
            <a:r>
              <a:rPr lang="sr-Latn-RS" sz="2000" dirty="0" err="1"/>
              <a:t>anonimizovani</a:t>
            </a:r>
            <a:r>
              <a:rPr lang="sr-Latn-RS" sz="2000" dirty="0"/>
              <a:t> podaci (zavisno od cilja istraživanja, a u skladu sa dozvolom Odbor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2000" dirty="0"/>
              <a:t>Portal za istraživače na Platformi  - omogućavanje preuzimanje podatak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94F68BD-49AD-4D39-B29B-5A58C005B30F}"/>
              </a:ext>
            </a:extLst>
          </p:cNvPr>
          <p:cNvGrpSpPr/>
          <p:nvPr/>
        </p:nvGrpSpPr>
        <p:grpSpPr>
          <a:xfrm>
            <a:off x="117898" y="5602904"/>
            <a:ext cx="11957161" cy="685802"/>
            <a:chOff x="922" y="5368987"/>
            <a:chExt cx="12190155" cy="914157"/>
          </a:xfrm>
        </p:grpSpPr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89E3A0AD-EF73-4158-85B8-39D7D496F366}"/>
                </a:ext>
              </a:extLst>
            </p:cNvPr>
            <p:cNvSpPr/>
            <p:nvPr/>
          </p:nvSpPr>
          <p:spPr>
            <a:xfrm>
              <a:off x="922" y="5368987"/>
              <a:ext cx="1786830" cy="689716"/>
            </a:xfrm>
            <a:prstGeom prst="chevron">
              <a:avLst>
                <a:gd name="adj" fmla="val 4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337DA3E-780D-44B6-909D-37F37E53097D}"/>
                </a:ext>
              </a:extLst>
            </p:cNvPr>
            <p:cNvSpPr/>
            <p:nvPr/>
          </p:nvSpPr>
          <p:spPr>
            <a:xfrm>
              <a:off x="477410" y="5541416"/>
              <a:ext cx="1508879" cy="689716"/>
            </a:xfrm>
            <a:custGeom>
              <a:avLst/>
              <a:gdLst>
                <a:gd name="connsiteX0" fmla="*/ 0 w 1508879"/>
                <a:gd name="connsiteY0" fmla="*/ 68972 h 689716"/>
                <a:gd name="connsiteX1" fmla="*/ 68972 w 1508879"/>
                <a:gd name="connsiteY1" fmla="*/ 0 h 689716"/>
                <a:gd name="connsiteX2" fmla="*/ 1439907 w 1508879"/>
                <a:gd name="connsiteY2" fmla="*/ 0 h 689716"/>
                <a:gd name="connsiteX3" fmla="*/ 1508879 w 1508879"/>
                <a:gd name="connsiteY3" fmla="*/ 68972 h 689716"/>
                <a:gd name="connsiteX4" fmla="*/ 1508879 w 1508879"/>
                <a:gd name="connsiteY4" fmla="*/ 620744 h 689716"/>
                <a:gd name="connsiteX5" fmla="*/ 1439907 w 1508879"/>
                <a:gd name="connsiteY5" fmla="*/ 689716 h 689716"/>
                <a:gd name="connsiteX6" fmla="*/ 68972 w 1508879"/>
                <a:gd name="connsiteY6" fmla="*/ 689716 h 689716"/>
                <a:gd name="connsiteX7" fmla="*/ 0 w 1508879"/>
                <a:gd name="connsiteY7" fmla="*/ 620744 h 689716"/>
                <a:gd name="connsiteX8" fmla="*/ 0 w 1508879"/>
                <a:gd name="connsiteY8" fmla="*/ 68972 h 68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8879" h="689716">
                  <a:moveTo>
                    <a:pt x="0" y="68972"/>
                  </a:moveTo>
                  <a:cubicBezTo>
                    <a:pt x="0" y="30880"/>
                    <a:pt x="30880" y="0"/>
                    <a:pt x="68972" y="0"/>
                  </a:cubicBezTo>
                  <a:lnTo>
                    <a:pt x="1439907" y="0"/>
                  </a:lnTo>
                  <a:cubicBezTo>
                    <a:pt x="1477999" y="0"/>
                    <a:pt x="1508879" y="30880"/>
                    <a:pt x="1508879" y="68972"/>
                  </a:cubicBezTo>
                  <a:lnTo>
                    <a:pt x="1508879" y="620744"/>
                  </a:lnTo>
                  <a:cubicBezTo>
                    <a:pt x="1508879" y="658836"/>
                    <a:pt x="1477999" y="689716"/>
                    <a:pt x="1439907" y="689716"/>
                  </a:cubicBezTo>
                  <a:lnTo>
                    <a:pt x="68972" y="689716"/>
                  </a:lnTo>
                  <a:cubicBezTo>
                    <a:pt x="30880" y="689716"/>
                    <a:pt x="0" y="658836"/>
                    <a:pt x="0" y="620744"/>
                  </a:cubicBezTo>
                  <a:lnTo>
                    <a:pt x="0" y="68972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9769" tIns="119769" rIns="119769" bIns="119769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gistration to the portal</a:t>
              </a:r>
            </a:p>
          </p:txBody>
        </p:sp>
        <p:sp>
          <p:nvSpPr>
            <p:cNvPr id="27" name="Arrow: Chevron 26">
              <a:extLst>
                <a:ext uri="{FF2B5EF4-FFF2-40B4-BE49-F238E27FC236}">
                  <a16:creationId xmlns:a16="http://schemas.microsoft.com/office/drawing/2014/main" id="{013BD3A4-60BF-43FD-9F81-7270B8273022}"/>
                </a:ext>
              </a:extLst>
            </p:cNvPr>
            <p:cNvSpPr/>
            <p:nvPr/>
          </p:nvSpPr>
          <p:spPr>
            <a:xfrm>
              <a:off x="2041880" y="5368987"/>
              <a:ext cx="1786830" cy="689716"/>
            </a:xfrm>
            <a:prstGeom prst="chevron">
              <a:avLst>
                <a:gd name="adj" fmla="val 4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5317408A-ACED-48DA-B0C6-5633705816E3}"/>
                </a:ext>
              </a:extLst>
            </p:cNvPr>
            <p:cNvSpPr/>
            <p:nvPr/>
          </p:nvSpPr>
          <p:spPr>
            <a:xfrm>
              <a:off x="4082837" y="5368987"/>
              <a:ext cx="1786830" cy="689716"/>
            </a:xfrm>
            <a:prstGeom prst="chevron">
              <a:avLst>
                <a:gd name="adj" fmla="val 4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97AB7CF-A76F-4068-907E-321F8FF6AF87}"/>
                </a:ext>
              </a:extLst>
            </p:cNvPr>
            <p:cNvSpPr/>
            <p:nvPr/>
          </p:nvSpPr>
          <p:spPr>
            <a:xfrm>
              <a:off x="4559325" y="5541416"/>
              <a:ext cx="1508879" cy="689716"/>
            </a:xfrm>
            <a:custGeom>
              <a:avLst/>
              <a:gdLst>
                <a:gd name="connsiteX0" fmla="*/ 0 w 1508879"/>
                <a:gd name="connsiteY0" fmla="*/ 68972 h 689716"/>
                <a:gd name="connsiteX1" fmla="*/ 68972 w 1508879"/>
                <a:gd name="connsiteY1" fmla="*/ 0 h 689716"/>
                <a:gd name="connsiteX2" fmla="*/ 1439907 w 1508879"/>
                <a:gd name="connsiteY2" fmla="*/ 0 h 689716"/>
                <a:gd name="connsiteX3" fmla="*/ 1508879 w 1508879"/>
                <a:gd name="connsiteY3" fmla="*/ 68972 h 689716"/>
                <a:gd name="connsiteX4" fmla="*/ 1508879 w 1508879"/>
                <a:gd name="connsiteY4" fmla="*/ 620744 h 689716"/>
                <a:gd name="connsiteX5" fmla="*/ 1439907 w 1508879"/>
                <a:gd name="connsiteY5" fmla="*/ 689716 h 689716"/>
                <a:gd name="connsiteX6" fmla="*/ 68972 w 1508879"/>
                <a:gd name="connsiteY6" fmla="*/ 689716 h 689716"/>
                <a:gd name="connsiteX7" fmla="*/ 0 w 1508879"/>
                <a:gd name="connsiteY7" fmla="*/ 620744 h 689716"/>
                <a:gd name="connsiteX8" fmla="*/ 0 w 1508879"/>
                <a:gd name="connsiteY8" fmla="*/ 68972 h 68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8879" h="689716">
                  <a:moveTo>
                    <a:pt x="0" y="68972"/>
                  </a:moveTo>
                  <a:cubicBezTo>
                    <a:pt x="0" y="30880"/>
                    <a:pt x="30880" y="0"/>
                    <a:pt x="68972" y="0"/>
                  </a:cubicBezTo>
                  <a:lnTo>
                    <a:pt x="1439907" y="0"/>
                  </a:lnTo>
                  <a:cubicBezTo>
                    <a:pt x="1477999" y="0"/>
                    <a:pt x="1508879" y="30880"/>
                    <a:pt x="1508879" y="68972"/>
                  </a:cubicBezTo>
                  <a:lnTo>
                    <a:pt x="1508879" y="620744"/>
                  </a:lnTo>
                  <a:cubicBezTo>
                    <a:pt x="1508879" y="658836"/>
                    <a:pt x="1477999" y="689716"/>
                    <a:pt x="1439907" y="689716"/>
                  </a:cubicBezTo>
                  <a:lnTo>
                    <a:pt x="68972" y="689716"/>
                  </a:lnTo>
                  <a:cubicBezTo>
                    <a:pt x="30880" y="689716"/>
                    <a:pt x="0" y="658836"/>
                    <a:pt x="0" y="620744"/>
                  </a:cubicBezTo>
                  <a:lnTo>
                    <a:pt x="0" y="68972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9769" tIns="119769" rIns="119769" bIns="119769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iltering</a:t>
              </a:r>
            </a:p>
          </p:txBody>
        </p:sp>
        <p:sp>
          <p:nvSpPr>
            <p:cNvPr id="30" name="Arrow: Chevron 29">
              <a:extLst>
                <a:ext uri="{FF2B5EF4-FFF2-40B4-BE49-F238E27FC236}">
                  <a16:creationId xmlns:a16="http://schemas.microsoft.com/office/drawing/2014/main" id="{AEA2A207-A53F-4857-B0BF-6FA2307B8905}"/>
                </a:ext>
              </a:extLst>
            </p:cNvPr>
            <p:cNvSpPr/>
            <p:nvPr/>
          </p:nvSpPr>
          <p:spPr>
            <a:xfrm>
              <a:off x="6123795" y="5368987"/>
              <a:ext cx="1786830" cy="689716"/>
            </a:xfrm>
            <a:prstGeom prst="chevron">
              <a:avLst>
                <a:gd name="adj" fmla="val 4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022F34F-5C10-4FF9-A5B6-28A97C9A95B2}"/>
                </a:ext>
              </a:extLst>
            </p:cNvPr>
            <p:cNvSpPr/>
            <p:nvPr/>
          </p:nvSpPr>
          <p:spPr>
            <a:xfrm>
              <a:off x="2400424" y="5587324"/>
              <a:ext cx="1508879" cy="689716"/>
            </a:xfrm>
            <a:custGeom>
              <a:avLst/>
              <a:gdLst>
                <a:gd name="connsiteX0" fmla="*/ 0 w 1508879"/>
                <a:gd name="connsiteY0" fmla="*/ 68972 h 689716"/>
                <a:gd name="connsiteX1" fmla="*/ 68972 w 1508879"/>
                <a:gd name="connsiteY1" fmla="*/ 0 h 689716"/>
                <a:gd name="connsiteX2" fmla="*/ 1439907 w 1508879"/>
                <a:gd name="connsiteY2" fmla="*/ 0 h 689716"/>
                <a:gd name="connsiteX3" fmla="*/ 1508879 w 1508879"/>
                <a:gd name="connsiteY3" fmla="*/ 68972 h 689716"/>
                <a:gd name="connsiteX4" fmla="*/ 1508879 w 1508879"/>
                <a:gd name="connsiteY4" fmla="*/ 620744 h 689716"/>
                <a:gd name="connsiteX5" fmla="*/ 1439907 w 1508879"/>
                <a:gd name="connsiteY5" fmla="*/ 689716 h 689716"/>
                <a:gd name="connsiteX6" fmla="*/ 68972 w 1508879"/>
                <a:gd name="connsiteY6" fmla="*/ 689716 h 689716"/>
                <a:gd name="connsiteX7" fmla="*/ 0 w 1508879"/>
                <a:gd name="connsiteY7" fmla="*/ 620744 h 689716"/>
                <a:gd name="connsiteX8" fmla="*/ 0 w 1508879"/>
                <a:gd name="connsiteY8" fmla="*/ 68972 h 68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8879" h="689716">
                  <a:moveTo>
                    <a:pt x="0" y="68972"/>
                  </a:moveTo>
                  <a:cubicBezTo>
                    <a:pt x="0" y="30880"/>
                    <a:pt x="30880" y="0"/>
                    <a:pt x="68972" y="0"/>
                  </a:cubicBezTo>
                  <a:lnTo>
                    <a:pt x="1439907" y="0"/>
                  </a:lnTo>
                  <a:cubicBezTo>
                    <a:pt x="1477999" y="0"/>
                    <a:pt x="1508879" y="30880"/>
                    <a:pt x="1508879" y="68972"/>
                  </a:cubicBezTo>
                  <a:lnTo>
                    <a:pt x="1508879" y="620744"/>
                  </a:lnTo>
                  <a:cubicBezTo>
                    <a:pt x="1508879" y="658836"/>
                    <a:pt x="1477999" y="689716"/>
                    <a:pt x="1439907" y="689716"/>
                  </a:cubicBezTo>
                  <a:lnTo>
                    <a:pt x="68972" y="689716"/>
                  </a:lnTo>
                  <a:cubicBezTo>
                    <a:pt x="30880" y="689716"/>
                    <a:pt x="0" y="658836"/>
                    <a:pt x="0" y="620744"/>
                  </a:cubicBezTo>
                  <a:lnTo>
                    <a:pt x="0" y="68972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9769" tIns="119769" rIns="119769" bIns="119769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rowsing</a:t>
              </a:r>
              <a:r>
                <a:rPr kumimoji="0" lang="sr-Latn-R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a categories</a:t>
              </a:r>
            </a:p>
          </p:txBody>
        </p:sp>
        <p:sp>
          <p:nvSpPr>
            <p:cNvPr id="32" name="Arrow: Chevron 31">
              <a:extLst>
                <a:ext uri="{FF2B5EF4-FFF2-40B4-BE49-F238E27FC236}">
                  <a16:creationId xmlns:a16="http://schemas.microsoft.com/office/drawing/2014/main" id="{65DE4122-70FB-4C7D-BD0F-D906581A8C73}"/>
                </a:ext>
              </a:extLst>
            </p:cNvPr>
            <p:cNvSpPr/>
            <p:nvPr/>
          </p:nvSpPr>
          <p:spPr>
            <a:xfrm>
              <a:off x="8229007" y="5392527"/>
              <a:ext cx="1786830" cy="689716"/>
            </a:xfrm>
            <a:prstGeom prst="chevron">
              <a:avLst>
                <a:gd name="adj" fmla="val 4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9010396-11B0-40C2-AA4B-384CA827CAF5}"/>
                </a:ext>
              </a:extLst>
            </p:cNvPr>
            <p:cNvSpPr/>
            <p:nvPr/>
          </p:nvSpPr>
          <p:spPr>
            <a:xfrm>
              <a:off x="8641240" y="5541416"/>
              <a:ext cx="1508879" cy="689716"/>
            </a:xfrm>
            <a:custGeom>
              <a:avLst/>
              <a:gdLst>
                <a:gd name="connsiteX0" fmla="*/ 0 w 1508879"/>
                <a:gd name="connsiteY0" fmla="*/ 68972 h 689716"/>
                <a:gd name="connsiteX1" fmla="*/ 68972 w 1508879"/>
                <a:gd name="connsiteY1" fmla="*/ 0 h 689716"/>
                <a:gd name="connsiteX2" fmla="*/ 1439907 w 1508879"/>
                <a:gd name="connsiteY2" fmla="*/ 0 h 689716"/>
                <a:gd name="connsiteX3" fmla="*/ 1508879 w 1508879"/>
                <a:gd name="connsiteY3" fmla="*/ 68972 h 689716"/>
                <a:gd name="connsiteX4" fmla="*/ 1508879 w 1508879"/>
                <a:gd name="connsiteY4" fmla="*/ 620744 h 689716"/>
                <a:gd name="connsiteX5" fmla="*/ 1439907 w 1508879"/>
                <a:gd name="connsiteY5" fmla="*/ 689716 h 689716"/>
                <a:gd name="connsiteX6" fmla="*/ 68972 w 1508879"/>
                <a:gd name="connsiteY6" fmla="*/ 689716 h 689716"/>
                <a:gd name="connsiteX7" fmla="*/ 0 w 1508879"/>
                <a:gd name="connsiteY7" fmla="*/ 620744 h 689716"/>
                <a:gd name="connsiteX8" fmla="*/ 0 w 1508879"/>
                <a:gd name="connsiteY8" fmla="*/ 68972 h 68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8879" h="689716">
                  <a:moveTo>
                    <a:pt x="0" y="68972"/>
                  </a:moveTo>
                  <a:cubicBezTo>
                    <a:pt x="0" y="30880"/>
                    <a:pt x="30880" y="0"/>
                    <a:pt x="68972" y="0"/>
                  </a:cubicBezTo>
                  <a:lnTo>
                    <a:pt x="1439907" y="0"/>
                  </a:lnTo>
                  <a:cubicBezTo>
                    <a:pt x="1477999" y="0"/>
                    <a:pt x="1508879" y="30880"/>
                    <a:pt x="1508879" y="68972"/>
                  </a:cubicBezTo>
                  <a:lnTo>
                    <a:pt x="1508879" y="620744"/>
                  </a:lnTo>
                  <a:cubicBezTo>
                    <a:pt x="1508879" y="658836"/>
                    <a:pt x="1477999" y="689716"/>
                    <a:pt x="1439907" y="689716"/>
                  </a:cubicBezTo>
                  <a:lnTo>
                    <a:pt x="68972" y="689716"/>
                  </a:lnTo>
                  <a:cubicBezTo>
                    <a:pt x="30880" y="689716"/>
                    <a:pt x="0" y="658836"/>
                    <a:pt x="0" y="620744"/>
                  </a:cubicBezTo>
                  <a:lnTo>
                    <a:pt x="0" y="68972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9769" tIns="119769" rIns="119769" bIns="119769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reating request for data acces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rrow: Chevron 33">
              <a:extLst>
                <a:ext uri="{FF2B5EF4-FFF2-40B4-BE49-F238E27FC236}">
                  <a16:creationId xmlns:a16="http://schemas.microsoft.com/office/drawing/2014/main" id="{82CA6B80-8D87-4F0E-AF56-992CA45AAC3F}"/>
                </a:ext>
              </a:extLst>
            </p:cNvPr>
            <p:cNvSpPr/>
            <p:nvPr/>
          </p:nvSpPr>
          <p:spPr>
            <a:xfrm>
              <a:off x="10205710" y="5368987"/>
              <a:ext cx="1786830" cy="689716"/>
            </a:xfrm>
            <a:prstGeom prst="chevron">
              <a:avLst>
                <a:gd name="adj" fmla="val 4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45AA2654-C1D2-49B4-8224-37B3256711C8}"/>
                </a:ext>
              </a:extLst>
            </p:cNvPr>
            <p:cNvSpPr/>
            <p:nvPr/>
          </p:nvSpPr>
          <p:spPr>
            <a:xfrm>
              <a:off x="10682198" y="5541416"/>
              <a:ext cx="1508879" cy="689716"/>
            </a:xfrm>
            <a:custGeom>
              <a:avLst/>
              <a:gdLst>
                <a:gd name="connsiteX0" fmla="*/ 0 w 1508879"/>
                <a:gd name="connsiteY0" fmla="*/ 68972 h 689716"/>
                <a:gd name="connsiteX1" fmla="*/ 68972 w 1508879"/>
                <a:gd name="connsiteY1" fmla="*/ 0 h 689716"/>
                <a:gd name="connsiteX2" fmla="*/ 1439907 w 1508879"/>
                <a:gd name="connsiteY2" fmla="*/ 0 h 689716"/>
                <a:gd name="connsiteX3" fmla="*/ 1508879 w 1508879"/>
                <a:gd name="connsiteY3" fmla="*/ 68972 h 689716"/>
                <a:gd name="connsiteX4" fmla="*/ 1508879 w 1508879"/>
                <a:gd name="connsiteY4" fmla="*/ 620744 h 689716"/>
                <a:gd name="connsiteX5" fmla="*/ 1439907 w 1508879"/>
                <a:gd name="connsiteY5" fmla="*/ 689716 h 689716"/>
                <a:gd name="connsiteX6" fmla="*/ 68972 w 1508879"/>
                <a:gd name="connsiteY6" fmla="*/ 689716 h 689716"/>
                <a:gd name="connsiteX7" fmla="*/ 0 w 1508879"/>
                <a:gd name="connsiteY7" fmla="*/ 620744 h 689716"/>
                <a:gd name="connsiteX8" fmla="*/ 0 w 1508879"/>
                <a:gd name="connsiteY8" fmla="*/ 68972 h 68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8879" h="689716">
                  <a:moveTo>
                    <a:pt x="0" y="68972"/>
                  </a:moveTo>
                  <a:cubicBezTo>
                    <a:pt x="0" y="30880"/>
                    <a:pt x="30880" y="0"/>
                    <a:pt x="68972" y="0"/>
                  </a:cubicBezTo>
                  <a:lnTo>
                    <a:pt x="1439907" y="0"/>
                  </a:lnTo>
                  <a:cubicBezTo>
                    <a:pt x="1477999" y="0"/>
                    <a:pt x="1508879" y="30880"/>
                    <a:pt x="1508879" y="68972"/>
                  </a:cubicBezTo>
                  <a:lnTo>
                    <a:pt x="1508879" y="620744"/>
                  </a:lnTo>
                  <a:cubicBezTo>
                    <a:pt x="1508879" y="658836"/>
                    <a:pt x="1477999" y="689716"/>
                    <a:pt x="1439907" y="689716"/>
                  </a:cubicBezTo>
                  <a:lnTo>
                    <a:pt x="68972" y="689716"/>
                  </a:lnTo>
                  <a:cubicBezTo>
                    <a:pt x="30880" y="689716"/>
                    <a:pt x="0" y="658836"/>
                    <a:pt x="0" y="620744"/>
                  </a:cubicBezTo>
                  <a:lnTo>
                    <a:pt x="0" y="68972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9769" tIns="119769" rIns="119769" bIns="119769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ownload</a:t>
              </a:r>
              <a:r>
                <a:rPr kumimoji="0" lang="sr-Latn-R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data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57104F7-A218-4DD4-935D-E39308F480D0}"/>
                </a:ext>
              </a:extLst>
            </p:cNvPr>
            <p:cNvSpPr/>
            <p:nvPr/>
          </p:nvSpPr>
          <p:spPr>
            <a:xfrm>
              <a:off x="6526841" y="5593428"/>
              <a:ext cx="1508879" cy="689716"/>
            </a:xfrm>
            <a:custGeom>
              <a:avLst/>
              <a:gdLst>
                <a:gd name="connsiteX0" fmla="*/ 0 w 1508879"/>
                <a:gd name="connsiteY0" fmla="*/ 68972 h 689716"/>
                <a:gd name="connsiteX1" fmla="*/ 68972 w 1508879"/>
                <a:gd name="connsiteY1" fmla="*/ 0 h 689716"/>
                <a:gd name="connsiteX2" fmla="*/ 1439907 w 1508879"/>
                <a:gd name="connsiteY2" fmla="*/ 0 h 689716"/>
                <a:gd name="connsiteX3" fmla="*/ 1508879 w 1508879"/>
                <a:gd name="connsiteY3" fmla="*/ 68972 h 689716"/>
                <a:gd name="connsiteX4" fmla="*/ 1508879 w 1508879"/>
                <a:gd name="connsiteY4" fmla="*/ 620744 h 689716"/>
                <a:gd name="connsiteX5" fmla="*/ 1439907 w 1508879"/>
                <a:gd name="connsiteY5" fmla="*/ 689716 h 689716"/>
                <a:gd name="connsiteX6" fmla="*/ 68972 w 1508879"/>
                <a:gd name="connsiteY6" fmla="*/ 689716 h 689716"/>
                <a:gd name="connsiteX7" fmla="*/ 0 w 1508879"/>
                <a:gd name="connsiteY7" fmla="*/ 620744 h 689716"/>
                <a:gd name="connsiteX8" fmla="*/ 0 w 1508879"/>
                <a:gd name="connsiteY8" fmla="*/ 68972 h 689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08879" h="689716">
                  <a:moveTo>
                    <a:pt x="0" y="68972"/>
                  </a:moveTo>
                  <a:cubicBezTo>
                    <a:pt x="0" y="30880"/>
                    <a:pt x="30880" y="0"/>
                    <a:pt x="68972" y="0"/>
                  </a:cubicBezTo>
                  <a:lnTo>
                    <a:pt x="1439907" y="0"/>
                  </a:lnTo>
                  <a:cubicBezTo>
                    <a:pt x="1477999" y="0"/>
                    <a:pt x="1508879" y="30880"/>
                    <a:pt x="1508879" y="68972"/>
                  </a:cubicBezTo>
                  <a:lnTo>
                    <a:pt x="1508879" y="620744"/>
                  </a:lnTo>
                  <a:cubicBezTo>
                    <a:pt x="1508879" y="658836"/>
                    <a:pt x="1477999" y="689716"/>
                    <a:pt x="1439907" y="689716"/>
                  </a:cubicBezTo>
                  <a:lnTo>
                    <a:pt x="68972" y="689716"/>
                  </a:lnTo>
                  <a:cubicBezTo>
                    <a:pt x="30880" y="689716"/>
                    <a:pt x="0" y="658836"/>
                    <a:pt x="0" y="620744"/>
                  </a:cubicBezTo>
                  <a:lnTo>
                    <a:pt x="0" y="68972"/>
                  </a:lnTo>
                  <a:close/>
                </a:path>
              </a:pathLst>
            </a:custGeom>
            <a:solidFill>
              <a:srgbClr val="E7E6E6">
                <a:alpha val="90000"/>
                <a:hueOff val="0"/>
                <a:satOff val="0"/>
                <a:lumOff val="0"/>
                <a:alphaOff val="0"/>
              </a:srgbClr>
            </a:solidFill>
            <a:ln w="12700" cap="flat" cmpd="sng" algn="ctr">
              <a:solidFill>
                <a:srgbClr val="44546A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9769" tIns="119769" rIns="119769" bIns="119769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a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arc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95315614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F59C61-5333-49E7-A7F7-C61D8C5D33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1150" y="3921248"/>
            <a:ext cx="5708650" cy="272786"/>
          </a:xfrm>
        </p:spPr>
        <p:txBody>
          <a:bodyPr/>
          <a:lstStyle/>
          <a:p>
            <a:r>
              <a:rPr lang="sr-Latn-RS" dirty="0"/>
              <a:t>Sažetak projekta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D8A982-E9B7-4D9B-A6F5-FAF6D217AD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1149" y="4318854"/>
            <a:ext cx="6118226" cy="2840771"/>
          </a:xfrm>
        </p:spPr>
        <p:txBody>
          <a:bodyPr/>
          <a:lstStyle/>
          <a:p>
            <a:r>
              <a:rPr lang="en-US" dirty="0" err="1"/>
              <a:t>Ciljna</a:t>
            </a:r>
            <a:r>
              <a:rPr lang="en-US" dirty="0"/>
              <a:t> </a:t>
            </a:r>
            <a:r>
              <a:rPr lang="en-US" dirty="0" err="1"/>
              <a:t>grupa</a:t>
            </a:r>
            <a:r>
              <a:rPr lang="en-US" dirty="0"/>
              <a:t>: </a:t>
            </a:r>
            <a:r>
              <a:rPr lang="en-US" dirty="0" err="1"/>
              <a:t>osobe</a:t>
            </a:r>
            <a:r>
              <a:rPr lang="en-US" dirty="0"/>
              <a:t> </a:t>
            </a:r>
            <a:r>
              <a:rPr lang="en-US" dirty="0" err="1"/>
              <a:t>starosti</a:t>
            </a:r>
            <a:r>
              <a:rPr lang="en-US" dirty="0"/>
              <a:t> </a:t>
            </a:r>
            <a:r>
              <a:rPr lang="en-US" dirty="0" err="1"/>
              <a:t>između</a:t>
            </a:r>
            <a:r>
              <a:rPr lang="en-US" dirty="0"/>
              <a:t> 20 - 40 </a:t>
            </a:r>
            <a:r>
              <a:rPr lang="en-US" dirty="0" err="1"/>
              <a:t>godina</a:t>
            </a:r>
            <a:r>
              <a:rPr lang="en-US" dirty="0"/>
              <a:t>, </a:t>
            </a:r>
            <a:r>
              <a:rPr lang="en-US" dirty="0" err="1"/>
              <a:t>oba</a:t>
            </a:r>
            <a:r>
              <a:rPr lang="en-US" dirty="0"/>
              <a:t> </a:t>
            </a:r>
            <a:r>
              <a:rPr lang="en-US" dirty="0" err="1"/>
              <a:t>pola</a:t>
            </a:r>
            <a:endParaRPr lang="en-US" dirty="0"/>
          </a:p>
          <a:p>
            <a:r>
              <a:rPr lang="en-US" dirty="0" err="1"/>
              <a:t>Uzorak</a:t>
            </a:r>
            <a:r>
              <a:rPr lang="en-US" dirty="0"/>
              <a:t>: 1 000 </a:t>
            </a:r>
            <a:r>
              <a:rPr lang="en-US" dirty="0" err="1"/>
              <a:t>ispitanika</a:t>
            </a:r>
            <a:r>
              <a:rPr lang="en-US" dirty="0"/>
              <a:t>/ca</a:t>
            </a:r>
          </a:p>
          <a:p>
            <a:r>
              <a:rPr lang="en-US" dirty="0"/>
              <a:t>Period </a:t>
            </a:r>
            <a:r>
              <a:rPr lang="en-US" dirty="0" err="1"/>
              <a:t>realizacije</a:t>
            </a:r>
            <a:r>
              <a:rPr lang="en-US" dirty="0"/>
              <a:t> </a:t>
            </a:r>
            <a:r>
              <a:rPr lang="en-US" dirty="0" err="1"/>
              <a:t>samog</a:t>
            </a:r>
            <a:r>
              <a:rPr lang="en-US" dirty="0"/>
              <a:t> </a:t>
            </a:r>
            <a:r>
              <a:rPr lang="en-US" dirty="0" err="1"/>
              <a:t>skrininga</a:t>
            </a:r>
            <a:r>
              <a:rPr lang="en-US" dirty="0"/>
              <a:t>: 2023-2025</a:t>
            </a:r>
          </a:p>
          <a:p>
            <a:r>
              <a:rPr lang="en-US" dirty="0" err="1"/>
              <a:t>Metoda</a:t>
            </a:r>
            <a:r>
              <a:rPr lang="en-US" dirty="0"/>
              <a:t>: NGS </a:t>
            </a:r>
            <a:r>
              <a:rPr lang="en-US" dirty="0" err="1"/>
              <a:t>egzoma</a:t>
            </a:r>
            <a:r>
              <a:rPr lang="en-US" dirty="0"/>
              <a:t> </a:t>
            </a:r>
            <a:r>
              <a:rPr lang="en-US" dirty="0" err="1"/>
              <a:t>ili</a:t>
            </a:r>
            <a:r>
              <a:rPr lang="en-US" dirty="0"/>
              <a:t> genoma</a:t>
            </a:r>
          </a:p>
          <a:p>
            <a:r>
              <a:rPr lang="en-US" dirty="0" err="1"/>
              <a:t>Obrad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interpretacija</a:t>
            </a:r>
            <a:r>
              <a:rPr lang="en-US" dirty="0"/>
              <a:t> </a:t>
            </a:r>
            <a:r>
              <a:rPr lang="en-US" dirty="0" err="1"/>
              <a:t>rezultata</a:t>
            </a:r>
            <a:endParaRPr lang="en-US" dirty="0"/>
          </a:p>
          <a:p>
            <a:r>
              <a:rPr lang="en-US" dirty="0"/>
              <a:t>IT </a:t>
            </a:r>
            <a:r>
              <a:rPr lang="en-US" dirty="0" err="1"/>
              <a:t>infrastruktura</a:t>
            </a:r>
            <a:r>
              <a:rPr lang="en-US" dirty="0"/>
              <a:t>: </a:t>
            </a:r>
            <a:r>
              <a:rPr lang="en-US" dirty="0" err="1"/>
              <a:t>Državni</a:t>
            </a:r>
            <a:r>
              <a:rPr lang="en-US" dirty="0"/>
              <a:t> data </a:t>
            </a:r>
            <a:r>
              <a:rPr lang="en-US" dirty="0" err="1"/>
              <a:t>centar</a:t>
            </a:r>
            <a:r>
              <a:rPr lang="en-US" dirty="0"/>
              <a:t> (DDC)</a:t>
            </a:r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A4EE751-CAAE-475B-B140-445EEAE893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45286" y="4318855"/>
            <a:ext cx="6135563" cy="2329915"/>
          </a:xfrm>
        </p:spPr>
        <p:txBody>
          <a:bodyPr numCol="2"/>
          <a:lstStyle/>
          <a:p>
            <a:pPr>
              <a:buFont typeface="Wingdings" panose="05000000000000000000" pitchFamily="2" charset="2"/>
              <a:buChar char="v"/>
            </a:pPr>
            <a:r>
              <a:rPr lang="en-US" b="1" dirty="0" err="1"/>
              <a:t>Nasledni</a:t>
            </a:r>
            <a:r>
              <a:rPr lang="en-US" b="1" dirty="0"/>
              <a:t> </a:t>
            </a:r>
            <a:r>
              <a:rPr lang="en-US" b="1" dirty="0" err="1"/>
              <a:t>kanceri</a:t>
            </a:r>
            <a:endParaRPr lang="en-US" b="1" dirty="0"/>
          </a:p>
          <a:p>
            <a:pPr marL="742818" lvl="1" indent="-285750">
              <a:buFont typeface="Wingdings" panose="05000000000000000000" pitchFamily="2" charset="2"/>
              <a:buChar char="Ø"/>
            </a:pPr>
            <a:r>
              <a:rPr lang="sr-Latn-RS" dirty="0"/>
              <a:t>R</a:t>
            </a:r>
            <a:r>
              <a:rPr lang="en-US" dirty="0" err="1"/>
              <a:t>ak</a:t>
            </a:r>
            <a:r>
              <a:rPr lang="en-US" dirty="0"/>
              <a:t> </a:t>
            </a:r>
            <a:r>
              <a:rPr lang="en-US" dirty="0" err="1"/>
              <a:t>dojke</a:t>
            </a:r>
            <a:r>
              <a:rPr lang="en-US" dirty="0"/>
              <a:t> </a:t>
            </a:r>
          </a:p>
          <a:p>
            <a:pPr marL="742818" lvl="1" indent="-285750">
              <a:buFont typeface="Wingdings" panose="05000000000000000000" pitchFamily="2" charset="2"/>
              <a:buChar char="Ø"/>
            </a:pPr>
            <a:r>
              <a:rPr lang="sr-Latn-RS" dirty="0"/>
              <a:t>R</a:t>
            </a:r>
            <a:r>
              <a:rPr lang="en-US" dirty="0" err="1"/>
              <a:t>ak</a:t>
            </a:r>
            <a:r>
              <a:rPr lang="en-US" dirty="0"/>
              <a:t> </a:t>
            </a:r>
            <a:r>
              <a:rPr lang="en-US" dirty="0" err="1"/>
              <a:t>jajnika</a:t>
            </a:r>
            <a:endParaRPr lang="en-US" dirty="0"/>
          </a:p>
          <a:p>
            <a:pPr marL="742818" lvl="1" indent="-28575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r-Latn-RS" dirty="0"/>
              <a:t>K</a:t>
            </a:r>
            <a:r>
              <a:rPr lang="en-US" dirty="0" err="1"/>
              <a:t>olorektalni</a:t>
            </a:r>
            <a:r>
              <a:rPr lang="en-US" dirty="0"/>
              <a:t> </a:t>
            </a:r>
            <a:r>
              <a:rPr lang="en-US" dirty="0" err="1"/>
              <a:t>rak</a:t>
            </a:r>
            <a:r>
              <a:rPr lang="en-US" dirty="0"/>
              <a:t> 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b="1" dirty="0" err="1"/>
              <a:t>Nasledne</a:t>
            </a:r>
            <a:r>
              <a:rPr lang="en-US" b="1" dirty="0"/>
              <a:t> </a:t>
            </a:r>
            <a:r>
              <a:rPr lang="en-US" b="1" dirty="0" err="1"/>
              <a:t>kardiovaskularne</a:t>
            </a:r>
            <a:r>
              <a:rPr lang="en-US" b="1" dirty="0"/>
              <a:t> bolesti</a:t>
            </a:r>
            <a:endParaRPr lang="en-US" dirty="0"/>
          </a:p>
          <a:p>
            <a:pPr marL="742818" lvl="1" indent="-285750">
              <a:buFont typeface="Wingdings" panose="05000000000000000000" pitchFamily="2" charset="2"/>
              <a:buChar char="Ø"/>
            </a:pPr>
            <a:r>
              <a:rPr lang="en-US" dirty="0" err="1"/>
              <a:t>Porodična</a:t>
            </a:r>
            <a:r>
              <a:rPr lang="en-US" dirty="0"/>
              <a:t> </a:t>
            </a:r>
            <a:r>
              <a:rPr lang="en-US" dirty="0" err="1"/>
              <a:t>atrijalna</a:t>
            </a:r>
            <a:r>
              <a:rPr lang="en-US" dirty="0"/>
              <a:t> </a:t>
            </a:r>
            <a:r>
              <a:rPr lang="en-US" dirty="0" err="1"/>
              <a:t>fibrilacija</a:t>
            </a:r>
            <a:r>
              <a:rPr lang="en-US" dirty="0"/>
              <a:t> </a:t>
            </a:r>
          </a:p>
          <a:p>
            <a:pPr marL="742818" lvl="1" indent="-285750">
              <a:buFont typeface="Wingdings" panose="05000000000000000000" pitchFamily="2" charset="2"/>
              <a:buChar char="Ø"/>
            </a:pPr>
            <a:r>
              <a:rPr lang="en-US" dirty="0" err="1"/>
              <a:t>Visok</a:t>
            </a:r>
            <a:r>
              <a:rPr lang="en-US" dirty="0"/>
              <a:t> </a:t>
            </a:r>
            <a:r>
              <a:rPr lang="en-US" dirty="0" err="1"/>
              <a:t>krvni</a:t>
            </a:r>
            <a:r>
              <a:rPr lang="en-US" dirty="0"/>
              <a:t> </a:t>
            </a:r>
            <a:r>
              <a:rPr lang="en-US" dirty="0" err="1"/>
              <a:t>pritisak</a:t>
            </a:r>
            <a:endParaRPr lang="en-US" dirty="0"/>
          </a:p>
          <a:p>
            <a:pPr marL="742818" lvl="1" indent="-28575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dirty="0" err="1"/>
              <a:t>Nasledna</a:t>
            </a:r>
            <a:r>
              <a:rPr lang="en-US" dirty="0"/>
              <a:t> </a:t>
            </a:r>
            <a:r>
              <a:rPr lang="en-US" dirty="0" err="1"/>
              <a:t>trombofilija</a:t>
            </a:r>
            <a:endParaRPr lang="en-US" dirty="0"/>
          </a:p>
          <a:p>
            <a:pPr>
              <a:buFont typeface="Wingdings" panose="05000000000000000000" pitchFamily="2" charset="2"/>
              <a:buChar char="v"/>
            </a:pPr>
            <a:r>
              <a:rPr lang="en-US" b="1" dirty="0" err="1"/>
              <a:t>Nasledne</a:t>
            </a:r>
            <a:r>
              <a:rPr lang="en-US" b="1" dirty="0"/>
              <a:t> bolesti </a:t>
            </a:r>
            <a:r>
              <a:rPr lang="en-US" b="1" dirty="0" err="1"/>
              <a:t>vezane</a:t>
            </a:r>
            <a:r>
              <a:rPr lang="en-US" b="1" dirty="0"/>
              <a:t> za </a:t>
            </a:r>
            <a:r>
              <a:rPr lang="en-US" b="1" dirty="0" err="1"/>
              <a:t>endokrini</a:t>
            </a:r>
            <a:r>
              <a:rPr lang="en-US" b="1" dirty="0"/>
              <a:t> </a:t>
            </a:r>
            <a:r>
              <a:rPr lang="en-US" b="1" dirty="0" err="1"/>
              <a:t>sistem</a:t>
            </a:r>
            <a:endParaRPr lang="en-US" b="1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dirty="0" err="1"/>
              <a:t>Porodična</a:t>
            </a:r>
            <a:r>
              <a:rPr lang="en-US" dirty="0"/>
              <a:t> </a:t>
            </a:r>
            <a:r>
              <a:rPr lang="en-US" dirty="0" err="1"/>
              <a:t>hiperholesterolemija</a:t>
            </a:r>
            <a:endParaRPr lang="en-US" dirty="0"/>
          </a:p>
          <a:p>
            <a:pPr lvl="1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dirty="0" err="1"/>
              <a:t>Monogen</a:t>
            </a:r>
            <a:r>
              <a:rPr lang="sr-Latn-RS" dirty="0" err="1"/>
              <a:t>ski</a:t>
            </a:r>
            <a:r>
              <a:rPr lang="en-US" dirty="0"/>
              <a:t> </a:t>
            </a:r>
            <a:r>
              <a:rPr lang="en-US" dirty="0" err="1"/>
              <a:t>dijabetes</a:t>
            </a:r>
            <a:r>
              <a:rPr lang="en-US" dirty="0"/>
              <a:t> (</a:t>
            </a:r>
            <a:r>
              <a:rPr lang="en-US" dirty="0" err="1"/>
              <a:t>Mody</a:t>
            </a:r>
            <a:r>
              <a:rPr lang="en-US" dirty="0"/>
              <a:t>)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US" b="1" dirty="0" err="1"/>
              <a:t>Nasledne</a:t>
            </a:r>
            <a:r>
              <a:rPr lang="en-US" b="1" dirty="0"/>
              <a:t> </a:t>
            </a:r>
            <a:r>
              <a:rPr lang="en-US" b="1" dirty="0" err="1"/>
              <a:t>hematološke</a:t>
            </a:r>
            <a:r>
              <a:rPr lang="en-US" b="1" dirty="0"/>
              <a:t> bolesti</a:t>
            </a:r>
          </a:p>
          <a:p>
            <a:pPr marL="742818" lvl="1" indent="-28575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dirty="0" err="1"/>
              <a:t>Hroniča</a:t>
            </a:r>
            <a:r>
              <a:rPr lang="en-US" dirty="0"/>
              <a:t> </a:t>
            </a:r>
            <a:r>
              <a:rPr lang="en-US" dirty="0" err="1"/>
              <a:t>limfocitna</a:t>
            </a:r>
            <a:r>
              <a:rPr lang="en-US" dirty="0"/>
              <a:t> </a:t>
            </a:r>
            <a:r>
              <a:rPr lang="en-US" dirty="0" err="1"/>
              <a:t>leukemija</a:t>
            </a:r>
            <a:endParaRPr lang="en-US" dirty="0"/>
          </a:p>
          <a:p>
            <a:pPr>
              <a:buFont typeface="Wingdings" panose="05000000000000000000" pitchFamily="2" charset="2"/>
              <a:buChar char="v"/>
            </a:pPr>
            <a:r>
              <a:rPr lang="sr-Latn-RS" b="1" dirty="0" err="1"/>
              <a:t>Farmakogenetika</a:t>
            </a:r>
            <a:endParaRPr lang="sr-Latn-RS" b="1" dirty="0"/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28C820-3DFF-4B88-9B0B-20A14416A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9E80BE4-A225-43D2-881B-F5FFAB5CB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dirty="0"/>
              <a:t>DNK skrining – prevencija </a:t>
            </a:r>
            <a:r>
              <a:rPr lang="sr-Latn-RS" dirty="0" err="1"/>
              <a:t>kardiovaskularnih</a:t>
            </a:r>
            <a:r>
              <a:rPr lang="sr-Latn-RS" dirty="0"/>
              <a:t> i </a:t>
            </a:r>
            <a:r>
              <a:rPr lang="sr-Latn-RS" dirty="0" err="1"/>
              <a:t>onkoloških</a:t>
            </a:r>
            <a:r>
              <a:rPr lang="sr-Latn-RS" dirty="0"/>
              <a:t> bolesti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14E4D6-2C35-4A3F-87C5-97B7C32B08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1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1392192-33CA-46CD-BB09-CB249261680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sr-Latn-RS" dirty="0"/>
              <a:t>Opis projekta</a:t>
            </a:r>
            <a:endParaRPr lang="en-US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4A4BF40-D13E-430C-A535-D5B1E0697D88}"/>
              </a:ext>
            </a:extLst>
          </p:cNvPr>
          <p:cNvSpPr txBox="1">
            <a:spLocks/>
          </p:cNvSpPr>
          <p:nvPr/>
        </p:nvSpPr>
        <p:spPr>
          <a:xfrm>
            <a:off x="5745287" y="3921248"/>
            <a:ext cx="5708650" cy="272786"/>
          </a:xfrm>
          <a:prstGeom prst="rect">
            <a:avLst/>
          </a:prstGeom>
        </p:spPr>
        <p:txBody>
          <a:bodyPr vert="horz" lIns="0" tIns="0" rIns="0" bIns="0" numCol="1" rtlCol="0">
            <a:noAutofit/>
          </a:bodyPr>
          <a:lstStyle>
            <a:lvl1pPr marL="0" indent="0" algn="l" defTabSz="9141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C4948"/>
              </a:buClr>
              <a:buFont typeface="Arial" panose="020B0604020202020204" pitchFamily="34" charset="0"/>
              <a:buNone/>
              <a:defRPr kumimoji="1" sz="1800" b="1" i="0" kern="1200" baseline="0">
                <a:solidFill>
                  <a:srgbClr val="2A419A"/>
                </a:solidFill>
                <a:latin typeface="HelveticaNeueLT Pro 35 Th" panose="020B0403020202020204" pitchFamily="34" charset="0"/>
                <a:ea typeface="メイリオ" pitchFamily="50" charset="-128"/>
                <a:cs typeface="Calibri" pitchFamily="34" charset="0"/>
              </a:defRPr>
            </a:lvl1pPr>
            <a:lvl2pPr marL="457068" indent="0" algn="l" defTabSz="914150" rtl="0" eaLnBrk="1" latinLnBrk="0" hangingPunct="1">
              <a:lnSpc>
                <a:spcPts val="1800"/>
              </a:lnSpc>
              <a:spcBef>
                <a:spcPts val="0"/>
              </a:spcBef>
              <a:buClr>
                <a:srgbClr val="4C4948"/>
              </a:buClr>
              <a:buFont typeface="Arial" pitchFamily="34" charset="0"/>
              <a:buNone/>
              <a:defRPr kumimoji="1" sz="1400" b="0" i="0" kern="120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2pPr>
            <a:lvl3pPr marL="914149" indent="0" algn="l" defTabSz="914150" rtl="0" eaLnBrk="1" latinLnBrk="0" hangingPunct="1">
              <a:lnSpc>
                <a:spcPts val="1800"/>
              </a:lnSpc>
              <a:spcBef>
                <a:spcPts val="0"/>
              </a:spcBef>
              <a:buClr>
                <a:srgbClr val="4C4948"/>
              </a:buClr>
              <a:buFont typeface="Arial" pitchFamily="34" charset="0"/>
              <a:buNone/>
              <a:defRPr kumimoji="1" sz="14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3pPr>
            <a:lvl4pPr marL="1371219" indent="0" algn="l" defTabSz="914150" rtl="0" eaLnBrk="1" latinLnBrk="0" hangingPunct="1">
              <a:lnSpc>
                <a:spcPts val="1800"/>
              </a:lnSpc>
              <a:spcBef>
                <a:spcPts val="0"/>
              </a:spcBef>
              <a:buClr>
                <a:srgbClr val="4C4948"/>
              </a:buClr>
              <a:buFont typeface="Arial" pitchFamily="34" charset="0"/>
              <a:buNone/>
              <a:defRPr kumimoji="1" sz="14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4pPr>
            <a:lvl5pPr marL="1828290" indent="0" algn="l" defTabSz="914150" rtl="0" eaLnBrk="1" latinLnBrk="0" hangingPunct="1">
              <a:lnSpc>
                <a:spcPts val="1800"/>
              </a:lnSpc>
              <a:spcBef>
                <a:spcPts val="0"/>
              </a:spcBef>
              <a:buClr>
                <a:srgbClr val="4C4948"/>
              </a:buClr>
              <a:buFont typeface="Arial" pitchFamily="34" charset="0"/>
              <a:buNone/>
              <a:defRPr kumimoji="1" sz="14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メイリオ" pitchFamily="50" charset="-128"/>
                <a:cs typeface="Calibri" pitchFamily="34" charset="0"/>
              </a:defRPr>
            </a:lvl5pPr>
            <a:lvl6pPr marL="2513910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86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61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142" indent="-228541" algn="l" defTabSz="91415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r-Latn-RS" dirty="0"/>
              <a:t>Bolesti od interesa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6C11D92-BE04-4F88-BE06-6AAE4C49FC45}"/>
              </a:ext>
            </a:extLst>
          </p:cNvPr>
          <p:cNvSpPr txBox="1"/>
          <p:nvPr/>
        </p:nvSpPr>
        <p:spPr>
          <a:xfrm>
            <a:off x="311149" y="1567784"/>
            <a:ext cx="5080002" cy="2123658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sr-Latn-RS" sz="1400" b="1" dirty="0">
                <a:solidFill>
                  <a:srgbClr val="2A419A"/>
                </a:solidFill>
                <a:latin typeface="HelveticaNeueLT Pro 35 Bd"/>
              </a:rPr>
              <a:t>ISTRAŽIVAČKI ASPEKTI:</a:t>
            </a:r>
          </a:p>
          <a:p>
            <a:pPr marL="285750" indent="-285750">
              <a:spcAft>
                <a:spcPts val="6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400" dirty="0">
                <a:latin typeface="HelveticaNeueLT Pro 35 Bd"/>
              </a:rPr>
              <a:t>Generisanje standardizovanog </a:t>
            </a:r>
            <a:r>
              <a:rPr lang="sr-Latn-RS" sz="1400" dirty="0" err="1">
                <a:latin typeface="HelveticaNeueLT Pro 35 Bd"/>
              </a:rPr>
              <a:t>dataseta</a:t>
            </a:r>
            <a:r>
              <a:rPr lang="sr-Latn-RS" sz="1400" dirty="0">
                <a:latin typeface="HelveticaNeueLT Pro 35 Bd"/>
              </a:rPr>
              <a:t>, omogućena ponovna upotreba podataka</a:t>
            </a:r>
          </a:p>
          <a:p>
            <a:pPr marL="285750" indent="-285750">
              <a:spcAft>
                <a:spcPts val="6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400" dirty="0">
                <a:latin typeface="HelveticaNeueLT Pro 35 Bd"/>
              </a:rPr>
              <a:t>Identifikacija genetičkih varijanti koje su specifične ili učestalije u srpskoj populaciji</a:t>
            </a:r>
          </a:p>
          <a:p>
            <a:pPr marL="285750" indent="-285750">
              <a:spcAft>
                <a:spcPts val="6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400" dirty="0">
                <a:latin typeface="HelveticaNeueLT Pro 35 Bd"/>
              </a:rPr>
              <a:t>Usavršavanje ljudskih kapaciteta i ekspertize za </a:t>
            </a:r>
            <a:r>
              <a:rPr lang="sr-Latn-RS" sz="1400" dirty="0" err="1">
                <a:latin typeface="HelveticaNeueLT Pro 35 Bd"/>
              </a:rPr>
              <a:t>bioinformatičku</a:t>
            </a:r>
            <a:r>
              <a:rPr lang="sr-Latn-RS" sz="1400" dirty="0">
                <a:latin typeface="HelveticaNeueLT Pro 35 Bd"/>
              </a:rPr>
              <a:t> analizu genetičkih podataka</a:t>
            </a:r>
          </a:p>
          <a:p>
            <a:pPr marL="285750" indent="-285750">
              <a:spcAft>
                <a:spcPts val="6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400" dirty="0">
                <a:latin typeface="HelveticaNeueLT Pro 35 Bd"/>
              </a:rPr>
              <a:t>Izrada naučno istraživačkih publikacij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C6B8F1E-10D7-4630-9F66-DE0CC4EA58D7}"/>
              </a:ext>
            </a:extLst>
          </p:cNvPr>
          <p:cNvSpPr txBox="1"/>
          <p:nvPr/>
        </p:nvSpPr>
        <p:spPr>
          <a:xfrm>
            <a:off x="5562599" y="1570973"/>
            <a:ext cx="6318249" cy="1985159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sr-Latn-RS" sz="1400" b="1" dirty="0">
                <a:solidFill>
                  <a:srgbClr val="2A419A"/>
                </a:solidFill>
                <a:latin typeface="HelveticaNeueLT Pro 35 Bd"/>
              </a:rPr>
              <a:t>ZDRAVSTVENI ASPEKTI:</a:t>
            </a:r>
          </a:p>
          <a:p>
            <a:pPr marL="285750" indent="-285750">
              <a:spcAft>
                <a:spcPts val="6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400" dirty="0">
                <a:latin typeface="HelveticaNeueLT Pro 35 Bd"/>
              </a:rPr>
              <a:t>Razvoj metoda ranog otkrivanja i </a:t>
            </a:r>
            <a:r>
              <a:rPr lang="sr-Latn-RS" sz="1400" dirty="0" err="1">
                <a:latin typeface="HelveticaNeueLT Pro 35 Bd"/>
              </a:rPr>
              <a:t>prevencij</a:t>
            </a:r>
            <a:r>
              <a:rPr lang="en-US" sz="1400" dirty="0">
                <a:latin typeface="HelveticaNeueLT Pro 35 Bd"/>
              </a:rPr>
              <a:t>e</a:t>
            </a:r>
            <a:r>
              <a:rPr lang="sr-Latn-RS" sz="1400" dirty="0">
                <a:latin typeface="HelveticaNeueLT Pro 35 Bd"/>
              </a:rPr>
              <a:t> </a:t>
            </a:r>
            <a:r>
              <a:rPr lang="en-US" sz="1400" dirty="0" err="1">
                <a:latin typeface="HelveticaNeueLT Pro 35 Bd"/>
              </a:rPr>
              <a:t>grupe</a:t>
            </a:r>
            <a:r>
              <a:rPr lang="sr-Latn-RS" sz="1400" dirty="0">
                <a:latin typeface="HelveticaNeueLT Pro 35 Bd"/>
              </a:rPr>
              <a:t> naslednih oboljenja</a:t>
            </a:r>
          </a:p>
          <a:p>
            <a:pPr marL="285750" indent="-285750">
              <a:spcAft>
                <a:spcPts val="6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400" dirty="0">
                <a:latin typeface="HelveticaNeueLT Pro 35 Bd"/>
              </a:rPr>
              <a:t>Unapređenje lečenja i smanjenje stope smrtnosti </a:t>
            </a:r>
            <a:r>
              <a:rPr lang="en-US" sz="1400" dirty="0">
                <a:latin typeface="HelveticaNeueLT Pro 35 Bd"/>
              </a:rPr>
              <a:t>u</a:t>
            </a:r>
            <a:r>
              <a:rPr lang="sr-Latn-RS" sz="1400" dirty="0">
                <a:latin typeface="HelveticaNeueLT Pro 35 Bd"/>
              </a:rPr>
              <a:t>z</a:t>
            </a:r>
            <a:r>
              <a:rPr lang="en-US" sz="1400" dirty="0" err="1">
                <a:latin typeface="HelveticaNeueLT Pro 35 Bd"/>
              </a:rPr>
              <a:t>rokovane</a:t>
            </a:r>
            <a:r>
              <a:rPr lang="en-US" sz="1400" dirty="0">
                <a:latin typeface="HelveticaNeueLT Pro 35 Bd"/>
              </a:rPr>
              <a:t> </a:t>
            </a:r>
            <a:r>
              <a:rPr lang="en-US" sz="1400" dirty="0" err="1">
                <a:latin typeface="HelveticaNeueLT Pro 35 Bd"/>
              </a:rPr>
              <a:t>naslednim</a:t>
            </a:r>
            <a:r>
              <a:rPr lang="en-US" sz="1400" dirty="0">
                <a:latin typeface="HelveticaNeueLT Pro 35 Bd"/>
              </a:rPr>
              <a:t> </a:t>
            </a:r>
            <a:r>
              <a:rPr lang="en-US" sz="1400" dirty="0" err="1">
                <a:latin typeface="HelveticaNeueLT Pro 35 Bd"/>
              </a:rPr>
              <a:t>bolestima</a:t>
            </a:r>
            <a:endParaRPr lang="sr-Latn-RS" sz="1400" dirty="0">
              <a:latin typeface="HelveticaNeueLT Pro 35 Bd"/>
            </a:endParaRPr>
          </a:p>
          <a:p>
            <a:pPr marL="285750" indent="-285750">
              <a:spcAft>
                <a:spcPts val="6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400" dirty="0">
                <a:latin typeface="HelveticaNeueLT Pro 35 Bd"/>
              </a:rPr>
              <a:t>Uspostavljanje novih standarda u dijagnostici i lečenju</a:t>
            </a:r>
          </a:p>
          <a:p>
            <a:pPr marL="285750" indent="-285750">
              <a:spcAft>
                <a:spcPts val="6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400" dirty="0">
                <a:latin typeface="HelveticaNeueLT Pro 35 Bd"/>
              </a:rPr>
              <a:t>Kreiranje farmakogenomskog profila populacije</a:t>
            </a:r>
          </a:p>
          <a:p>
            <a:pPr marL="285750" indent="-285750">
              <a:spcAft>
                <a:spcPts val="6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400" dirty="0">
                <a:latin typeface="HelveticaNeueLT Pro 35 Bd"/>
              </a:rPr>
              <a:t>Razvijanje svesti o koristima precizne medicine i genetičkog skrininga </a:t>
            </a:r>
          </a:p>
        </p:txBody>
      </p:sp>
    </p:spTree>
    <p:extLst>
      <p:ext uri="{BB962C8B-B14F-4D97-AF65-F5344CB8AC3E}">
        <p14:creationId xmlns:p14="http://schemas.microsoft.com/office/powerpoint/2010/main" val="4235515985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62CD3F-75F5-4B44-1968-7781FF720A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r-Latn-RS" dirty="0"/>
              <a:t>Zašto nam je potreban genetički skrining?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EA1D0-4C88-5471-DDE3-71546A9867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2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CF73224-FC48-4101-A663-802BDDA3CF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9147714"/>
              </p:ext>
            </p:extLst>
          </p:nvPr>
        </p:nvGraphicFramePr>
        <p:xfrm>
          <a:off x="458614" y="1501518"/>
          <a:ext cx="5184772" cy="4390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84772">
                  <a:extLst>
                    <a:ext uri="{9D8B030D-6E8A-4147-A177-3AD203B41FA5}">
                      <a16:colId xmlns:a16="http://schemas.microsoft.com/office/drawing/2014/main" val="2324436866"/>
                    </a:ext>
                  </a:extLst>
                </a:gridCol>
              </a:tblGrid>
              <a:tr h="4390610">
                <a:tc>
                  <a:txBody>
                    <a:bodyPr/>
                    <a:lstStyle/>
                    <a:p>
                      <a:pPr marL="396875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SzPct val="80000"/>
                        <a:buFont typeface="Wingdings" panose="05000000000000000000" pitchFamily="2" charset="2"/>
                        <a:buChar char="Ø"/>
                      </a:pPr>
                      <a:r>
                        <a:rPr lang="sr-Latn-R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Kasna dijagnostika i visok stepen smrtnosti bolest od interesa</a:t>
                      </a:r>
                    </a:p>
                    <a:p>
                      <a:pPr marL="396875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SzPct val="80000"/>
                        <a:buFont typeface="Wingdings" panose="05000000000000000000" pitchFamily="2" charset="2"/>
                        <a:buChar char="Ø"/>
                      </a:pPr>
                      <a:r>
                        <a:rPr lang="sr-Latn-R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Visoki troškovi lečenja</a:t>
                      </a:r>
                    </a:p>
                    <a:p>
                      <a:pPr marL="396875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SzPct val="80000"/>
                        <a:buFont typeface="Wingdings" panose="05000000000000000000" pitchFamily="2" charset="2"/>
                        <a:buChar char="Ø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Vodeći uzroci umiranja u 2021.godini </a:t>
                      </a:r>
                      <a:r>
                        <a:rPr lang="sr-Latn-R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u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latin typeface="HelveticaNeueLT Pro 35 Bd"/>
                        </a:rPr>
                        <a:t>Srbiji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HelveticaNeueLT Pro 35 Bd"/>
                      </a:endParaRPr>
                    </a:p>
                    <a:p>
                      <a:pPr marL="853946" lvl="1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SzPct val="80000"/>
                        <a:buFont typeface="Wingdings" panose="05000000000000000000" pitchFamily="2" charset="2"/>
                        <a:buChar char="Ø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Kardiovaskularne bolesti – 56.610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latin typeface="HelveticaNeueLT Pro 35 Bd"/>
                        </a:rPr>
                        <a:t>osoba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 41,4%</a:t>
                      </a:r>
                      <a:r>
                        <a:rPr lang="sr-Latn-R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 -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 ukupne smrtnosti </a:t>
                      </a:r>
                    </a:p>
                    <a:p>
                      <a:pPr marL="853946" lvl="1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SzPct val="80000"/>
                        <a:buFont typeface="Wingdings" panose="05000000000000000000" pitchFamily="2" charset="2"/>
                        <a:buChar char="Ø"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Maligne bolesti – 19.979 </a:t>
                      </a:r>
                      <a:r>
                        <a:rPr lang="en-US" sz="1800" b="0" dirty="0" err="1">
                          <a:solidFill>
                            <a:schemeClr val="tx1"/>
                          </a:solidFill>
                          <a:latin typeface="HelveticaNeueLT Pro 35 Bd"/>
                        </a:rPr>
                        <a:t>osoba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 </a:t>
                      </a:r>
                      <a:r>
                        <a:rPr lang="sr-Latn-R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-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14.6% </a:t>
                      </a:r>
                      <a:r>
                        <a:rPr lang="sr-Latn-R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(3 x više nego prosek u svetu)</a:t>
                      </a:r>
                    </a:p>
                    <a:p>
                      <a:pPr marL="396875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SzPct val="80000"/>
                        <a:buFont typeface="Wingdings" panose="05000000000000000000" pitchFamily="2" charset="2"/>
                        <a:buChar char="Ø"/>
                      </a:pPr>
                      <a:r>
                        <a:rPr lang="sr-Latn-R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Nepersonalizovana terapija („one drug fits all“)</a:t>
                      </a:r>
                    </a:p>
                    <a:p>
                      <a:pPr marL="396875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SzPct val="80000"/>
                        <a:buFont typeface="Wingdings" panose="05000000000000000000" pitchFamily="2" charset="2"/>
                        <a:buChar char="Ø"/>
                      </a:pPr>
                      <a:r>
                        <a:rPr lang="sr-Latn-RS" sz="1800" b="0" dirty="0">
                          <a:solidFill>
                            <a:schemeClr val="tx1"/>
                          </a:solidFill>
                          <a:latin typeface="HelveticaNeueLT Pro 35 Bd"/>
                        </a:rPr>
                        <a:t>Nedovoljno korišćenje novih tehnoloških rešenja u dijagnostici</a:t>
                      </a:r>
                      <a:endParaRPr lang="en-US" sz="18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182872"/>
                  </a:ext>
                </a:extLst>
              </a:tr>
            </a:tbl>
          </a:graphicData>
        </a:graphic>
      </p:graphicFrame>
      <p:sp>
        <p:nvSpPr>
          <p:cNvPr id="2" name="Right Brace 1">
            <a:extLst>
              <a:ext uri="{FF2B5EF4-FFF2-40B4-BE49-F238E27FC236}">
                <a16:creationId xmlns:a16="http://schemas.microsoft.com/office/drawing/2014/main" id="{194D2E8D-E351-4936-AA2E-30D407F04933}"/>
              </a:ext>
            </a:extLst>
          </p:cNvPr>
          <p:cNvSpPr/>
          <p:nvPr/>
        </p:nvSpPr>
        <p:spPr>
          <a:xfrm>
            <a:off x="5643879" y="1033670"/>
            <a:ext cx="904240" cy="5326309"/>
          </a:xfrm>
          <a:prstGeom prst="rightBrace">
            <a:avLst>
              <a:gd name="adj1" fmla="val 8333"/>
              <a:gd name="adj2" fmla="val 49172"/>
            </a:avLst>
          </a:prstGeom>
          <a:ln w="28575">
            <a:solidFill>
              <a:srgbClr val="2A4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D37536-7DEE-44C9-91EB-8697D499A10C}"/>
              </a:ext>
            </a:extLst>
          </p:cNvPr>
          <p:cNvSpPr txBox="1"/>
          <p:nvPr/>
        </p:nvSpPr>
        <p:spPr>
          <a:xfrm>
            <a:off x="6762751" y="1157666"/>
            <a:ext cx="518477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 rtl="0" eaLnBrk="1" fontAlgn="t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Rano</a:t>
            </a:r>
            <a:r>
              <a:rPr kumimoji="1" lang="en-U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</a:t>
            </a: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otkrivanje</a:t>
            </a: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i prevencija bolesti ispitanika</a:t>
            </a:r>
            <a:endParaRPr lang="en-US" b="0" i="0" u="none" strike="noStrike" dirty="0">
              <a:effectLst/>
              <a:latin typeface="Arial" panose="020B0604020202020204" pitchFamily="34" charset="0"/>
            </a:endParaRPr>
          </a:p>
          <a:p>
            <a:pPr marL="285750" indent="-285750" algn="l" rtl="0" eaLnBrk="1" fontAlgn="t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Unapređenje</a:t>
            </a:r>
            <a:r>
              <a:rPr kumimoji="1" lang="en-U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</a:t>
            </a: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dijagnostike</a:t>
            </a:r>
            <a:r>
              <a:rPr kumimoji="1" lang="en-U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</a:t>
            </a: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korišćenjem</a:t>
            </a:r>
            <a:r>
              <a:rPr kumimoji="1" lang="en-U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</a:t>
            </a: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genetičkog</a:t>
            </a:r>
            <a:r>
              <a:rPr kumimoji="1" lang="en-U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</a:t>
            </a: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skrininga</a:t>
            </a:r>
            <a:endParaRPr lang="en-US" b="0" i="0" u="none" strike="noStrike" dirty="0">
              <a:effectLst/>
              <a:latin typeface="Arial" panose="020B0604020202020204" pitchFamily="34" charset="0"/>
            </a:endParaRPr>
          </a:p>
          <a:p>
            <a:pPr marL="285750" indent="-285750" algn="l" rtl="0" eaLnBrk="1" fontAlgn="t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Razvoj</a:t>
            </a:r>
            <a:r>
              <a:rPr kumimoji="1" lang="en-U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</a:t>
            </a: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modela</a:t>
            </a:r>
            <a:r>
              <a:rPr kumimoji="1" lang="en-U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</a:t>
            </a: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protokola prevencije/lečenja na bazi genetičkog skrininga</a:t>
            </a:r>
            <a:endParaRPr lang="en-US" b="0" i="0" u="none" strike="noStrike" dirty="0">
              <a:effectLst/>
              <a:latin typeface="Arial" panose="020B0604020202020204" pitchFamily="34" charset="0"/>
            </a:endParaRPr>
          </a:p>
          <a:p>
            <a:pPr marL="285750" indent="-285750" algn="l" rtl="0" eaLnBrk="1" fontAlgn="t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Kreiranje </a:t>
            </a:r>
            <a:r>
              <a:rPr kumimoji="1" lang="sr-Latn-R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farmakogenomskog</a:t>
            </a: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profila </a:t>
            </a:r>
            <a:r>
              <a:rPr kumimoji="1" lang="en-U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populacije</a:t>
            </a: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(i ispitanika)</a:t>
            </a:r>
            <a:endParaRPr lang="en-US" b="0" i="0" u="none" strike="noStrike" dirty="0">
              <a:effectLst/>
              <a:latin typeface="Arial" panose="020B0604020202020204" pitchFamily="34" charset="0"/>
            </a:endParaRPr>
          </a:p>
          <a:p>
            <a:pPr marL="285750" indent="-285750" algn="l" rtl="0" eaLnBrk="1" fontAlgn="t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Naučni radovi</a:t>
            </a:r>
            <a:endParaRPr lang="en-US" b="0" i="0" u="none" strike="noStrike" dirty="0">
              <a:effectLst/>
              <a:latin typeface="Arial" panose="020B0604020202020204" pitchFamily="34" charset="0"/>
            </a:endParaRPr>
          </a:p>
          <a:p>
            <a:pPr marL="285750" indent="-285750" algn="l" rtl="0" eaLnBrk="1" fontAlgn="t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Pilot projekti sa farma industrijom</a:t>
            </a:r>
            <a:endParaRPr lang="en-US" b="0" i="0" u="none" strike="noStrike" dirty="0">
              <a:effectLst/>
              <a:latin typeface="Arial" panose="020B0604020202020204" pitchFamily="34" charset="0"/>
            </a:endParaRPr>
          </a:p>
          <a:p>
            <a:pPr marL="285750" indent="-285750" algn="l" rtl="0" eaLnBrk="1" fontAlgn="t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Razvoj AI</a:t>
            </a:r>
            <a:endParaRPr lang="en-US" b="0" i="0" u="none" strike="noStrike" dirty="0">
              <a:effectLst/>
              <a:latin typeface="Arial" panose="020B0604020202020204" pitchFamily="34" charset="0"/>
            </a:endParaRPr>
          </a:p>
          <a:p>
            <a:pPr marL="285750" indent="-285750" algn="l" rtl="0" eaLnBrk="1" fontAlgn="t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Znanje, zadržavanje i razvoj kadrova</a:t>
            </a:r>
          </a:p>
          <a:p>
            <a:pPr marL="285750" indent="-285750" fontAlgn="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Zdravstvena </a:t>
            </a:r>
            <a:r>
              <a:rPr kumimoji="1" lang="sr-Latn-RS" b="0" i="0" u="none" strike="noStrike" kern="1200" dirty="0" err="1">
                <a:solidFill>
                  <a:srgbClr val="34373F"/>
                </a:solidFill>
                <a:effectLst/>
                <a:latin typeface="HelveticaNeueLT Pro 35 Bd"/>
              </a:rPr>
              <a:t>osvešćenost</a:t>
            </a: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 građana</a:t>
            </a:r>
          </a:p>
          <a:p>
            <a:pPr marL="285750" indent="-285750" fontAlgn="t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kumimoji="1" lang="sr-Latn-RS" b="0" i="0" u="none" strike="noStrike" kern="1200" dirty="0">
                <a:solidFill>
                  <a:srgbClr val="34373F"/>
                </a:solidFill>
                <a:effectLst/>
                <a:latin typeface="HelveticaNeueLT Pro 35 Bd"/>
              </a:rPr>
              <a:t>Održivost</a:t>
            </a:r>
            <a:endParaRPr lang="en-US" b="0" i="0" u="none" strike="noStrike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3749474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8EF6CDA-2B72-4F69-AE4F-40A1FF105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ULOG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49AF2-ED57-4787-899C-EB612968CB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3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9DFC696-E467-4AA2-A6BC-AADFAE6DD0D6}"/>
              </a:ext>
            </a:extLst>
          </p:cNvPr>
          <p:cNvSpPr txBox="1"/>
          <p:nvPr/>
        </p:nvSpPr>
        <p:spPr>
          <a:xfrm>
            <a:off x="606077" y="1231055"/>
            <a:ext cx="548992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sr-Latn-RS" b="1" dirty="0">
                <a:solidFill>
                  <a:srgbClr val="2A419A"/>
                </a:solidFill>
                <a:latin typeface="HelveticaNeueLT Pro 35 Bd"/>
              </a:rPr>
              <a:t>C4IR/KITEU: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Upravljanje projektom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Koordinacija svih aktera (lekari, naučnici, udruženja pacijenata, savetodavni odbor, ministarstva, mediji)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Pravna podrška/Obezbeđivanje zaštite podataka o ličnosti i informisanog pristank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Izrada web sajta/portala za prijavu građan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Uspostavljanje registra podatak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Kampanj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Th" panose="020B0403020202020204"/>
              </a:rPr>
              <a:t>IT infrastruktura: Državni data centar (DDC)</a:t>
            </a:r>
            <a:endParaRPr lang="sr-Latn-RS" sz="1600" dirty="0">
              <a:latin typeface="HelveticaNeueLT Pro 35 Bd"/>
            </a:endParaRP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Ekonomska Studija/Analiza efekat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Generisanje standardizovanog </a:t>
            </a:r>
            <a:r>
              <a:rPr lang="sr-Latn-RS" sz="1600" dirty="0" err="1">
                <a:latin typeface="HelveticaNeueLT Pro 35 Bd"/>
              </a:rPr>
              <a:t>dataseta</a:t>
            </a:r>
            <a:r>
              <a:rPr lang="sr-Latn-RS" sz="1600" dirty="0">
                <a:latin typeface="HelveticaNeueLT Pro 35 Bd"/>
              </a:rPr>
              <a:t> sa 1 000 genoma/</a:t>
            </a:r>
            <a:r>
              <a:rPr lang="sr-Latn-RS" sz="1600" dirty="0" err="1">
                <a:latin typeface="HelveticaNeueLT Pro 35 Bd"/>
              </a:rPr>
              <a:t>egzoma</a:t>
            </a:r>
            <a:r>
              <a:rPr lang="sr-Latn-RS" sz="1600" dirty="0">
                <a:latin typeface="HelveticaNeueLT Pro 35 Bd"/>
              </a:rPr>
              <a:t> populacije u Srbij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6EB288-6307-461E-BD0C-D285E33E5779}"/>
              </a:ext>
            </a:extLst>
          </p:cNvPr>
          <p:cNvSpPr txBox="1"/>
          <p:nvPr/>
        </p:nvSpPr>
        <p:spPr>
          <a:xfrm>
            <a:off x="6630038" y="1231055"/>
            <a:ext cx="5317487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sr-Latn-RS" b="1" dirty="0">
                <a:solidFill>
                  <a:srgbClr val="2A419A"/>
                </a:solidFill>
                <a:latin typeface="HelveticaNeueLT Pro 35 Bd"/>
              </a:rPr>
              <a:t>INSTITUTI:</a:t>
            </a:r>
          </a:p>
          <a:p>
            <a:pPr>
              <a:spcAft>
                <a:spcPts val="1200"/>
              </a:spcAft>
            </a:pPr>
            <a:endParaRPr lang="sr-Latn-RS" sz="1400" dirty="0">
              <a:latin typeface="HelveticaNeueLT Pro 35 Bd"/>
            </a:endParaRP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Th" panose="020B0403020202020204"/>
              </a:rPr>
              <a:t>DNK </a:t>
            </a:r>
            <a:r>
              <a:rPr lang="sr-Latn-RS" sz="1600" dirty="0" err="1">
                <a:latin typeface="HelveticaNeueLT Pro 35 Th" panose="020B0403020202020204"/>
              </a:rPr>
              <a:t>sekvenciranje</a:t>
            </a:r>
            <a:r>
              <a:rPr lang="sr-Latn-RS" sz="1600" dirty="0">
                <a:latin typeface="HelveticaNeueLT Pro 35 Th" panose="020B0403020202020204"/>
              </a:rPr>
              <a:t> celog genoma/</a:t>
            </a:r>
            <a:r>
              <a:rPr lang="sr-Latn-RS" sz="1600" dirty="0" err="1">
                <a:latin typeface="HelveticaNeueLT Pro 35 Th" panose="020B0403020202020204"/>
              </a:rPr>
              <a:t>egzoma</a:t>
            </a:r>
            <a:r>
              <a:rPr lang="sr-Latn-RS" sz="1600" dirty="0">
                <a:latin typeface="HelveticaNeueLT Pro 35 Th" panose="020B0403020202020204"/>
              </a:rPr>
              <a:t> ispitanik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Th" panose="020B0403020202020204"/>
              </a:rPr>
              <a:t>Razvoj kadrova za bioinformatičku obradu podatak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Th" panose="020B0403020202020204"/>
              </a:rPr>
              <a:t>Obrada i interpretacija rezultat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Razvoj metoda ranog otkrivanja i prevencije bolesti od interes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Kreiranje farmakogenomskog profila populacije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Izrada populacione studije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 err="1">
                <a:latin typeface="HelveticaNeueLT Pro 35 Bd"/>
              </a:rPr>
              <a:t>Biobanka</a:t>
            </a:r>
            <a:endParaRPr lang="sr-Latn-RS" sz="1600" dirty="0">
              <a:latin typeface="HelveticaNeueLT Pro 35 Bd"/>
            </a:endParaRP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Razvoj alata zasnovanih na AI 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Naučni radovi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9EB4497-43E7-41B2-BEE2-1BD5B1F662BC}"/>
              </a:ext>
            </a:extLst>
          </p:cNvPr>
          <p:cNvCxnSpPr/>
          <p:nvPr/>
        </p:nvCxnSpPr>
        <p:spPr>
          <a:xfrm>
            <a:off x="6262551" y="1989545"/>
            <a:ext cx="0" cy="3860800"/>
          </a:xfrm>
          <a:prstGeom prst="line">
            <a:avLst/>
          </a:prstGeom>
          <a:ln w="28575">
            <a:solidFill>
              <a:srgbClr val="2A4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4584197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8EF6CDA-2B72-4F69-AE4F-40A1FF105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ULOG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449AF2-ED57-4787-899C-EB612968CB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4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9DFC696-E467-4AA2-A6BC-AADFAE6DD0D6}"/>
              </a:ext>
            </a:extLst>
          </p:cNvPr>
          <p:cNvSpPr txBox="1"/>
          <p:nvPr/>
        </p:nvSpPr>
        <p:spPr>
          <a:xfrm>
            <a:off x="553642" y="1369536"/>
            <a:ext cx="5022562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sr-Latn-RS" b="1" dirty="0">
                <a:solidFill>
                  <a:srgbClr val="2A419A"/>
                </a:solidFill>
                <a:latin typeface="HelveticaNeueLT Pro 35 Bd"/>
              </a:rPr>
              <a:t>KLINIČKI CENTRI/LEKARI:</a:t>
            </a:r>
          </a:p>
          <a:p>
            <a:pPr>
              <a:spcAft>
                <a:spcPts val="1200"/>
              </a:spcAft>
            </a:pPr>
            <a:endParaRPr lang="sr-Latn-RS" sz="1400" dirty="0">
              <a:latin typeface="HelveticaNeueLT Pro 35 Bd"/>
            </a:endParaRP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Komunikacij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Edukacija pacijenata/ispitanik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Regrutacija i </a:t>
            </a:r>
            <a:r>
              <a:rPr lang="sr-Latn-RS" sz="1600" dirty="0" err="1">
                <a:latin typeface="HelveticaNeueLT Pro 35 Bd"/>
              </a:rPr>
              <a:t>uzorkovanje</a:t>
            </a:r>
            <a:endParaRPr lang="sr-Latn-RS" sz="1600" dirty="0">
              <a:latin typeface="HelveticaNeueLT Pro 35 Bd"/>
            </a:endParaRP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Prikupljanje drugih biomedicisnkih podatak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Saopštavanje rezultat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Genetičko savetovanje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Dalja dijagnostika i lečenje pacijenata sa pozitivnim nalazom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Izrada protokola prevencije/lečenj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Praćenje pacijenata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6EB288-6307-461E-BD0C-D285E33E5779}"/>
              </a:ext>
            </a:extLst>
          </p:cNvPr>
          <p:cNvSpPr txBox="1"/>
          <p:nvPr/>
        </p:nvSpPr>
        <p:spPr>
          <a:xfrm>
            <a:off x="6019807" y="1369536"/>
            <a:ext cx="5583626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sr-Latn-RS" b="1" dirty="0">
                <a:solidFill>
                  <a:srgbClr val="2A419A"/>
                </a:solidFill>
                <a:latin typeface="HelveticaNeueLT Pro 35 Bd"/>
              </a:rPr>
              <a:t>DRUGI PARTNERI:</a:t>
            </a:r>
          </a:p>
          <a:p>
            <a:pPr>
              <a:spcAft>
                <a:spcPts val="1200"/>
              </a:spcAft>
            </a:pPr>
            <a:endParaRPr lang="sr-Latn-RS" sz="1600" dirty="0">
              <a:latin typeface="HelveticaNeueLT Pro 35 Bd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MZdravlja/MNauk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IZJZS Batut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RFZO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Udruženja pacijenata (NORBS, NURDOR): informisanje, regrutacija, edukacija, mediji, podrška pacijentima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Donatori/međunarodne organizacije: UNDP, WHO, USAID, EU, Australija, GA4GH, BBMRI, EMBL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Bioinformatičke i IT kompanije/platforme: </a:t>
            </a:r>
            <a:r>
              <a:rPr lang="sr-Latn-RS" sz="1600" dirty="0" err="1">
                <a:latin typeface="HelveticaNeueLT Pro 35 Bd"/>
              </a:rPr>
              <a:t>Seven</a:t>
            </a:r>
            <a:r>
              <a:rPr lang="sr-Latn-RS" sz="1600" dirty="0">
                <a:latin typeface="HelveticaNeueLT Pro 35 Bd"/>
              </a:rPr>
              <a:t> </a:t>
            </a:r>
            <a:r>
              <a:rPr lang="sr-Latn-RS" sz="1600" dirty="0" err="1">
                <a:latin typeface="HelveticaNeueLT Pro 35 Bd"/>
              </a:rPr>
              <a:t>Bridges</a:t>
            </a:r>
            <a:r>
              <a:rPr lang="sr-Latn-RS" sz="1600" dirty="0">
                <a:latin typeface="HelveticaNeueLT Pro 35 Bd"/>
              </a:rPr>
              <a:t> </a:t>
            </a:r>
            <a:r>
              <a:rPr lang="sr-Latn-RS" sz="1600" dirty="0" err="1">
                <a:latin typeface="HelveticaNeueLT Pro 35 Bd"/>
              </a:rPr>
              <a:t>Genomics</a:t>
            </a:r>
            <a:r>
              <a:rPr lang="sr-Latn-RS" sz="1600" dirty="0">
                <a:latin typeface="HelveticaNeueLT Pro 35 Bd"/>
              </a:rPr>
              <a:t>, </a:t>
            </a:r>
            <a:r>
              <a:rPr lang="sr-Latn-RS" sz="1600" dirty="0" err="1">
                <a:latin typeface="HelveticaNeueLT Pro 35 Bd"/>
              </a:rPr>
              <a:t>nVIDIA</a:t>
            </a:r>
            <a:r>
              <a:rPr lang="sr-Latn-RS" sz="1600" dirty="0">
                <a:latin typeface="HelveticaNeueLT Pro 35 Bd"/>
              </a:rPr>
              <a:t> – </a:t>
            </a:r>
            <a:r>
              <a:rPr lang="sr-Latn-RS" sz="1600" dirty="0" err="1">
                <a:latin typeface="HelveticaNeueLT Pro 35 Bd"/>
              </a:rPr>
              <a:t>Clara</a:t>
            </a:r>
            <a:r>
              <a:rPr lang="sr-Latn-RS" sz="1600" dirty="0">
                <a:latin typeface="HelveticaNeueLT Pro 35 Bd"/>
              </a:rPr>
              <a:t> </a:t>
            </a:r>
            <a:r>
              <a:rPr lang="sr-Latn-RS" sz="1600" dirty="0" err="1">
                <a:latin typeface="HelveticaNeueLT Pro 35 Bd"/>
              </a:rPr>
              <a:t>Parabricks</a:t>
            </a:r>
            <a:r>
              <a:rPr lang="sr-Latn-RS" sz="1600" dirty="0">
                <a:latin typeface="HelveticaNeueLT Pro 35 Bd"/>
              </a:rPr>
              <a:t>, Galaxy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r-Latn-RS" sz="1600" dirty="0">
                <a:latin typeface="HelveticaNeueLT Pro 35 Bd"/>
              </a:rPr>
              <a:t>Farmaceutske kompanije: sponzori, glasnogovornici, mehanizam proširenja</a:t>
            </a:r>
          </a:p>
          <a:p>
            <a:pPr marL="285750" indent="-285750">
              <a:spcAft>
                <a:spcPts val="1200"/>
              </a:spcAft>
              <a:buClr>
                <a:srgbClr val="2A419A"/>
              </a:buClr>
              <a:buFont typeface="Arial" panose="020B0604020202020204" pitchFamily="34" charset="0"/>
              <a:buChar char="•"/>
            </a:pPr>
            <a:endParaRPr lang="sr-Latn-RS" dirty="0">
              <a:latin typeface="HelveticaNeueLT Pro 35 Bd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9EB4497-43E7-41B2-BEE2-1BD5B1F662BC}"/>
              </a:ext>
            </a:extLst>
          </p:cNvPr>
          <p:cNvCxnSpPr/>
          <p:nvPr/>
        </p:nvCxnSpPr>
        <p:spPr>
          <a:xfrm>
            <a:off x="5583555" y="1755030"/>
            <a:ext cx="0" cy="3860800"/>
          </a:xfrm>
          <a:prstGeom prst="line">
            <a:avLst/>
          </a:prstGeom>
          <a:ln w="28575">
            <a:solidFill>
              <a:srgbClr val="2A4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716526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1C97E0-CCB5-4D44-B40F-9B52159F6C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1150" y="1485900"/>
            <a:ext cx="11569700" cy="4945342"/>
          </a:xfrm>
        </p:spPr>
        <p:txBody>
          <a:bodyPr/>
          <a:lstStyle/>
          <a:p>
            <a:r>
              <a:rPr lang="sr-Latn-RS" sz="2000" b="1" dirty="0"/>
              <a:t>Državni data cent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800" dirty="0"/>
              <a:t>Kragujevac i Beograd; rukovodi Kancelarija za IT i </a:t>
            </a:r>
            <a:r>
              <a:rPr lang="sr-Latn-RS" sz="1800" dirty="0" err="1"/>
              <a:t>eUpravu</a:t>
            </a:r>
            <a:r>
              <a:rPr lang="sr-Latn-RS" sz="1800" dirty="0"/>
              <a:t> (KITE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800" dirty="0" err="1"/>
              <a:t>Tier</a:t>
            </a:r>
            <a:r>
              <a:rPr lang="sr-Latn-RS" sz="1800" dirty="0"/>
              <a:t> 3+ data centar, bezbednosni standard ISO 27001, standardi kvaliteta ISO 9001 i kvaliteta pružanja usluga ISO 2000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800" dirty="0"/>
              <a:t>Resursi se nude po modelu </a:t>
            </a:r>
            <a:r>
              <a:rPr lang="sr-Latn-RS" sz="1800" dirty="0" err="1"/>
              <a:t>IaaS</a:t>
            </a:r>
            <a:r>
              <a:rPr lang="sr-Latn-RS" sz="1800" dirty="0"/>
              <a:t> (</a:t>
            </a:r>
            <a:r>
              <a:rPr lang="sr-Latn-RS" sz="1800" dirty="0" err="1"/>
              <a:t>Infrastructure</a:t>
            </a:r>
            <a:r>
              <a:rPr lang="sr-Latn-RS" sz="1800" dirty="0"/>
              <a:t> as a </a:t>
            </a:r>
            <a:r>
              <a:rPr lang="sr-Latn-RS" sz="1800" dirty="0" err="1"/>
              <a:t>Service</a:t>
            </a:r>
            <a:r>
              <a:rPr lang="sr-Latn-RS" sz="1800" dirty="0"/>
              <a:t>) odnosno, izdaju se virtuelni serverski resursi prema zahtevu korisnik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800" dirty="0"/>
              <a:t>Resurs i za akademsku zajednicu (besplatni); sporazum između institucije i KITE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dirty="0"/>
          </a:p>
          <a:p>
            <a:r>
              <a:rPr lang="sr-Latn-RS" sz="2000" b="1" dirty="0"/>
              <a:t>Nacionalna platforma za veštačku inteligencij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800" dirty="0"/>
              <a:t>GPU-zasnovan </a:t>
            </a:r>
            <a:r>
              <a:rPr lang="sr-Latn-RS" sz="1800" dirty="0" err="1"/>
              <a:t>superkompjuter</a:t>
            </a:r>
            <a:endParaRPr lang="sr-Latn-R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800" dirty="0"/>
              <a:t>Četiri</a:t>
            </a:r>
            <a:r>
              <a:rPr lang="en-US" sz="1800" dirty="0"/>
              <a:t> DGX-A100 </a:t>
            </a:r>
            <a:r>
              <a:rPr lang="en-US" sz="1800" dirty="0" err="1"/>
              <a:t>nVIDIA</a:t>
            </a:r>
            <a:r>
              <a:rPr lang="en-US" sz="1800" dirty="0"/>
              <a:t> </a:t>
            </a:r>
            <a:r>
              <a:rPr lang="en-US" sz="1800" dirty="0" err="1"/>
              <a:t>servera</a:t>
            </a:r>
            <a:r>
              <a:rPr lang="en-US" sz="1800" dirty="0"/>
              <a:t> </a:t>
            </a:r>
            <a:r>
              <a:rPr lang="en-US" sz="1800" dirty="0" err="1"/>
              <a:t>sa</a:t>
            </a:r>
            <a:r>
              <a:rPr lang="en-US" sz="1800" dirty="0"/>
              <a:t> </a:t>
            </a:r>
            <a:r>
              <a:rPr lang="en-US" sz="1800" dirty="0" err="1"/>
              <a:t>ukupno</a:t>
            </a:r>
            <a:r>
              <a:rPr lang="en-US" sz="1800" dirty="0"/>
              <a:t> 32 GPU za </a:t>
            </a:r>
            <a:r>
              <a:rPr lang="en-US" sz="1800" dirty="0" err="1"/>
              <a:t>obradu</a:t>
            </a:r>
            <a:r>
              <a:rPr lang="en-US" sz="1800" dirty="0"/>
              <a:t> DL </a:t>
            </a:r>
            <a:r>
              <a:rPr lang="en-US" sz="1800" dirty="0" err="1"/>
              <a:t>i</a:t>
            </a:r>
            <a:r>
              <a:rPr lang="en-US" sz="1800" dirty="0"/>
              <a:t> HPC </a:t>
            </a:r>
            <a:r>
              <a:rPr lang="en-US" sz="1800" dirty="0" err="1"/>
              <a:t>simulacija</a:t>
            </a:r>
            <a:r>
              <a:rPr lang="en-US" sz="1800" dirty="0"/>
              <a:t> s </a:t>
            </a:r>
            <a:r>
              <a:rPr lang="en-US" sz="1800" dirty="0" err="1"/>
              <a:t>više</a:t>
            </a:r>
            <a:r>
              <a:rPr lang="en-US" sz="1800" dirty="0"/>
              <a:t> </a:t>
            </a:r>
            <a:r>
              <a:rPr lang="en-US" sz="1800" dirty="0" err="1"/>
              <a:t>čvorova</a:t>
            </a:r>
            <a:endParaRPr lang="sr-Latn-R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800" dirty="0"/>
              <a:t>Potencijal za obradu </a:t>
            </a:r>
            <a:r>
              <a:rPr lang="sr-Latn-RS" sz="1800" dirty="0" err="1"/>
              <a:t>genomskih</a:t>
            </a:r>
            <a:r>
              <a:rPr lang="sr-Latn-RS" sz="1800" dirty="0"/>
              <a:t> podatak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800" dirty="0"/>
              <a:t>Rukovodi KITEU; sporazum između institucije i KITEU (besplatno korišćenje za akademsku zajednic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87F85F-4A26-4DCE-9954-18D09204A8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BF5F10-E031-4AAE-B624-80347D7BA1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dirty="0"/>
              <a:t>Državni kapaciteti za skladištenje i obradu </a:t>
            </a:r>
            <a:r>
              <a:rPr lang="sr-Latn-RS" dirty="0" err="1"/>
              <a:t>genomskih</a:t>
            </a:r>
            <a:r>
              <a:rPr lang="sr-Latn-RS" dirty="0"/>
              <a:t> podatak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79C784-B1A2-41A1-9C57-3DA35922A1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5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92045816"/>
      </p:ext>
    </p:extLst>
  </p:cSld>
  <p:clrMapOvr>
    <a:masterClrMapping/>
  </p:clrMapOvr>
  <p:transition spd="slow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D91242E-D50F-4B73-93D9-B92A301397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1151" y="1102385"/>
            <a:ext cx="7194550" cy="5328857"/>
          </a:xfrm>
        </p:spPr>
        <p:txBody>
          <a:bodyPr>
            <a:normAutofit lnSpcReduction="10000"/>
          </a:bodyPr>
          <a:lstStyle/>
          <a:p>
            <a:r>
              <a:rPr lang="sr-Latn-RS" sz="1800" dirty="0"/>
              <a:t>Platforma za genetičke i </a:t>
            </a:r>
            <a:r>
              <a:rPr lang="sr-Latn-RS" sz="1800" dirty="0" err="1"/>
              <a:t>biomedicinske</a:t>
            </a:r>
            <a:r>
              <a:rPr lang="sr-Latn-RS" sz="1800" dirty="0"/>
              <a:t> podatke</a:t>
            </a:r>
          </a:p>
          <a:p>
            <a:pPr lvl="1"/>
            <a:r>
              <a:rPr lang="sr-Latn-RS" sz="1600" dirty="0"/>
              <a:t>Kako postići konsenzus </a:t>
            </a:r>
            <a:r>
              <a:rPr lang="sr-Latn-RS" sz="1600" dirty="0" err="1"/>
              <a:t>bioinformatičke</a:t>
            </a:r>
            <a:r>
              <a:rPr lang="sr-Latn-RS" sz="1600" dirty="0"/>
              <a:t> zajednice? Funkcionalni aspekti Platforme…</a:t>
            </a:r>
          </a:p>
          <a:p>
            <a:r>
              <a:rPr lang="sr-Latn-RS" sz="1800" dirty="0"/>
              <a:t>DNK skrining</a:t>
            </a:r>
          </a:p>
          <a:p>
            <a:pPr lvl="1"/>
            <a:r>
              <a:rPr lang="sr-Latn-RS" sz="1600" dirty="0"/>
              <a:t>Uključivanje istraživača u obradu podataka…</a:t>
            </a:r>
          </a:p>
          <a:p>
            <a:pPr lvl="2"/>
            <a:r>
              <a:rPr lang="sr-Latn-RS" sz="1600" dirty="0"/>
              <a:t>Ko ima ekspertizu?</a:t>
            </a:r>
          </a:p>
          <a:p>
            <a:pPr lvl="2"/>
            <a:r>
              <a:rPr lang="sr-Latn-RS" sz="1600" dirty="0"/>
              <a:t>Koje metode su najadekvatnije?</a:t>
            </a:r>
          </a:p>
          <a:p>
            <a:pPr lvl="2"/>
            <a:r>
              <a:rPr lang="sr-Latn-RS" sz="1600" dirty="0"/>
              <a:t>Open </a:t>
            </a:r>
            <a:r>
              <a:rPr lang="sr-Latn-RS" sz="1600" dirty="0" err="1"/>
              <a:t>source</a:t>
            </a:r>
            <a:r>
              <a:rPr lang="sr-Latn-RS" sz="1600" dirty="0"/>
              <a:t> platforme/nekomercijalni alati/komercijalni alati i platforme</a:t>
            </a:r>
          </a:p>
          <a:p>
            <a:r>
              <a:rPr lang="sr-Latn-RS" sz="1800" dirty="0"/>
              <a:t>Državni resursi za skladištenje i obradu </a:t>
            </a:r>
            <a:r>
              <a:rPr lang="sr-Latn-RS" sz="1800" dirty="0" err="1"/>
              <a:t>genomskih</a:t>
            </a:r>
            <a:r>
              <a:rPr lang="sr-Latn-RS" sz="1800" dirty="0"/>
              <a:t> podataka</a:t>
            </a:r>
          </a:p>
          <a:p>
            <a:pPr lvl="1"/>
            <a:r>
              <a:rPr lang="sr-Latn-RS" sz="1600" dirty="0"/>
              <a:t>Koje institucije imaju potrebu za skladištenjem podataka? Koje količine podataka?</a:t>
            </a:r>
          </a:p>
          <a:p>
            <a:pPr lvl="1"/>
            <a:r>
              <a:rPr lang="sr-Latn-RS" sz="1600" dirty="0"/>
              <a:t>Kako iskoristiti resurs Nacionalne platforme za VI za obradu </a:t>
            </a:r>
            <a:r>
              <a:rPr lang="sr-Latn-RS" sz="1600" dirty="0" err="1"/>
              <a:t>genomskih</a:t>
            </a:r>
            <a:r>
              <a:rPr lang="sr-Latn-RS" sz="1600" dirty="0"/>
              <a:t> podataka? CPU </a:t>
            </a:r>
            <a:r>
              <a:rPr lang="sr-Latn-RS" sz="1600" dirty="0" err="1"/>
              <a:t>vs</a:t>
            </a:r>
            <a:r>
              <a:rPr lang="sr-Latn-RS" sz="1600" dirty="0"/>
              <a:t>. GPU zasnovane analize…</a:t>
            </a:r>
          </a:p>
          <a:p>
            <a:r>
              <a:rPr lang="sr-Latn-RS" sz="1800" dirty="0"/>
              <a:t>Master/obuke iz </a:t>
            </a:r>
            <a:r>
              <a:rPr lang="sr-Latn-RS" sz="1800" dirty="0" err="1"/>
              <a:t>bioinformatike</a:t>
            </a:r>
            <a:endParaRPr lang="sr-Latn-RS" sz="1800" dirty="0"/>
          </a:p>
          <a:p>
            <a:pPr lvl="1"/>
            <a:r>
              <a:rPr lang="sr-Latn-RS" sz="1600" dirty="0"/>
              <a:t>Da li postoji potreba?</a:t>
            </a:r>
          </a:p>
          <a:p>
            <a:pPr lvl="1"/>
            <a:r>
              <a:rPr lang="sr-Latn-RS" sz="1600" dirty="0"/>
              <a:t>Ko ima ekspertizu?</a:t>
            </a:r>
          </a:p>
          <a:p>
            <a:pPr lvl="1"/>
            <a:r>
              <a:rPr lang="sr-Latn-RS" sz="1600" dirty="0"/>
              <a:t>Udruživanje više institucija…</a:t>
            </a:r>
          </a:p>
          <a:p>
            <a:pPr lvl="1"/>
            <a:r>
              <a:rPr lang="sr-Latn-RS" sz="1600" dirty="0"/>
              <a:t>Konsenzus oko kurikuluma…</a:t>
            </a:r>
          </a:p>
          <a:p>
            <a:r>
              <a:rPr lang="sr-Latn-RS" sz="1800" dirty="0"/>
              <a:t>Jačanje </a:t>
            </a:r>
            <a:r>
              <a:rPr lang="sr-Latn-RS" sz="1800" dirty="0" err="1"/>
              <a:t>genomskog</a:t>
            </a:r>
            <a:r>
              <a:rPr lang="sr-Latn-RS" sz="1800" dirty="0"/>
              <a:t> ekosistema</a:t>
            </a:r>
          </a:p>
          <a:p>
            <a:pPr lvl="1"/>
            <a:r>
              <a:rPr lang="sr-Latn-RS" sz="1600" dirty="0"/>
              <a:t>Zajedničko apliciranje za projekte i druge kolaboracije</a:t>
            </a:r>
          </a:p>
          <a:p>
            <a:pPr lvl="1"/>
            <a:r>
              <a:rPr lang="sr-Latn-RS" sz="1600" dirty="0"/>
              <a:t>Razmena iskustava</a:t>
            </a:r>
          </a:p>
          <a:p>
            <a:pPr lvl="1"/>
            <a:r>
              <a:rPr lang="sr-Latn-RS" sz="1600" dirty="0"/>
              <a:t>Obrazovanje</a:t>
            </a:r>
          </a:p>
          <a:p>
            <a:pPr lvl="2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76DAB8-C602-4A5E-A2B3-A793BF8794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EE21DB-B836-49A3-BF4E-DB7E233DA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Otvorena pitanja…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7BFFD0-A777-4AB2-916E-0FFA016E98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16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CDDAEA-A753-4226-B9CA-779CD90DC1BD}"/>
              </a:ext>
            </a:extLst>
          </p:cNvPr>
          <p:cNvSpPr txBox="1"/>
          <p:nvPr/>
        </p:nvSpPr>
        <p:spPr>
          <a:xfrm>
            <a:off x="8258174" y="3703346"/>
            <a:ext cx="3400425" cy="1569660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sr-Latn-RS" sz="2000" b="1" dirty="0">
                <a:solidFill>
                  <a:srgbClr val="2A419A"/>
                </a:solidFill>
              </a:rPr>
              <a:t>PREDLOG:</a:t>
            </a:r>
          </a:p>
          <a:p>
            <a:pPr algn="ctr"/>
            <a:endParaRPr lang="sr-Latn-RS" sz="2000" b="1" dirty="0">
              <a:solidFill>
                <a:srgbClr val="2A419A"/>
              </a:solidFill>
            </a:endParaRPr>
          </a:p>
          <a:p>
            <a:pPr algn="ctr"/>
            <a:r>
              <a:rPr lang="sr-Latn-RS" sz="2800" b="1" dirty="0">
                <a:solidFill>
                  <a:srgbClr val="2A419A"/>
                </a:solidFill>
              </a:rPr>
              <a:t>BIRBI SEKCIJA ZA GENOMIKU</a:t>
            </a:r>
            <a:endParaRPr lang="en-US" sz="2800" b="1" dirty="0">
              <a:solidFill>
                <a:srgbClr val="2A419A"/>
              </a:solidFill>
            </a:endParaRPr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274EE95E-DA88-478F-9AD5-16445485192D}"/>
              </a:ext>
            </a:extLst>
          </p:cNvPr>
          <p:cNvSpPr/>
          <p:nvPr/>
        </p:nvSpPr>
        <p:spPr>
          <a:xfrm>
            <a:off x="9620250" y="2097401"/>
            <a:ext cx="676275" cy="1590675"/>
          </a:xfrm>
          <a:prstGeom prst="downArrow">
            <a:avLst/>
          </a:prstGeom>
          <a:solidFill>
            <a:srgbClr val="2A419A"/>
          </a:solidFill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en-US" dirty="0"/>
          </a:p>
        </p:txBody>
      </p:sp>
    </p:spTree>
    <p:extLst>
      <p:ext uri="{BB962C8B-B14F-4D97-AF65-F5344CB8AC3E}">
        <p14:creationId xmlns:p14="http://schemas.microsoft.com/office/powerpoint/2010/main" val="1079131339"/>
      </p:ext>
    </p:extLst>
  </p:cSld>
  <p:clrMapOvr>
    <a:masterClrMapping/>
  </p:clrMapOvr>
  <p:transition spd="slow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186348-E571-9968-829E-CCFFEB55AA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42329" y="1972437"/>
            <a:ext cx="5053671" cy="2913126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br>
              <a:rPr lang="sr-Latn-RS" dirty="0"/>
            </a:br>
            <a:r>
              <a:rPr lang="sr-Latn-RS" dirty="0"/>
              <a:t>Hvala na pažnji!</a:t>
            </a:r>
            <a:br>
              <a:rPr lang="sr-Latn-RS" dirty="0"/>
            </a:br>
            <a:br>
              <a:rPr lang="sr-Latn-RS" dirty="0"/>
            </a:br>
            <a:r>
              <a:rPr lang="sr-Latn-RS" sz="2700" dirty="0"/>
              <a:t>Kontakti</a:t>
            </a:r>
            <a:br>
              <a:rPr lang="sr-Latn-RS" sz="2700" dirty="0"/>
            </a:br>
            <a:r>
              <a:rPr lang="sr-Latn-RS" sz="2700" b="0" u="sng" dirty="0">
                <a:solidFill>
                  <a:srgbClr val="34373F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4ir.</a:t>
            </a:r>
            <a:r>
              <a:rPr lang="sr-Latn-RS" sz="2700" b="0" u="sng" dirty="0">
                <a:solidFill>
                  <a:srgbClr val="0E1D4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s</a:t>
            </a:r>
            <a:br>
              <a:rPr lang="sr-Latn-RS" sz="2700" b="0" u="sng" dirty="0">
                <a:solidFill>
                  <a:srgbClr val="0E1D42"/>
                </a:solidFill>
              </a:rPr>
            </a:br>
            <a:r>
              <a:rPr lang="sr-Latn-RS" sz="2700" b="0" u="sng" dirty="0">
                <a:solidFill>
                  <a:srgbClr val="34373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ffice@c4ir.</a:t>
            </a:r>
            <a:r>
              <a:rPr lang="sr-Latn-RS" sz="2700" b="0" u="sng" dirty="0">
                <a:solidFill>
                  <a:srgbClr val="0E1D4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s</a:t>
            </a:r>
            <a:br>
              <a:rPr lang="sr-Latn-RS" sz="2700" b="0" u="sng" dirty="0">
                <a:solidFill>
                  <a:srgbClr val="0E1D42"/>
                </a:solidFill>
              </a:rPr>
            </a:br>
            <a:r>
              <a:rPr lang="sr-Latn-RS" sz="2700" b="0" u="sng" dirty="0" err="1">
                <a:solidFill>
                  <a:srgbClr val="0E1D42"/>
                </a:solidFill>
              </a:rPr>
              <a:t>branislava.gemovic</a:t>
            </a:r>
            <a:r>
              <a:rPr lang="en-US" sz="2700" b="0" u="sng" dirty="0">
                <a:solidFill>
                  <a:srgbClr val="0E1D42"/>
                </a:solidFill>
              </a:rPr>
              <a:t>@c4ir.rs</a:t>
            </a:r>
            <a:br>
              <a:rPr lang="sr-Latn-RS" sz="2700" b="0" u="sng" dirty="0"/>
            </a:br>
            <a:endParaRPr lang="en-US" sz="2700" b="0" u="sng" dirty="0">
              <a:solidFill>
                <a:schemeClr val="tx1"/>
              </a:solidFill>
            </a:endParaRP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33A2D478-24FC-4A40-B067-28C023FF4D0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90" r="28590"/>
          <a:stretch/>
        </p:blipFill>
        <p:spPr>
          <a:xfrm>
            <a:off x="6642541" y="0"/>
            <a:ext cx="5565823" cy="6858000"/>
          </a:xfrm>
        </p:spPr>
      </p:pic>
    </p:spTree>
    <p:extLst>
      <p:ext uri="{BB962C8B-B14F-4D97-AF65-F5344CB8AC3E}">
        <p14:creationId xmlns:p14="http://schemas.microsoft.com/office/powerpoint/2010/main" val="2962227089"/>
      </p:ext>
    </p:extLst>
  </p:cSld>
  <p:clrMapOvr>
    <a:masterClrMapping/>
  </p:clrMapOvr>
  <p:transition spd="slow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A group of people standing at a table&#10;&#10;Description automatically generated with low confidence">
            <a:extLst>
              <a:ext uri="{FF2B5EF4-FFF2-40B4-BE49-F238E27FC236}">
                <a16:creationId xmlns:a16="http://schemas.microsoft.com/office/drawing/2014/main" id="{AB169D75-2651-42C5-A231-7FAFE402C9D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02" t="3557" b="4553"/>
          <a:stretch/>
        </p:blipFill>
        <p:spPr>
          <a:xfrm>
            <a:off x="6246291" y="1902296"/>
            <a:ext cx="5945709" cy="3949066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6E6A85-A2EF-468D-8057-A3F379ED7D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6077" y="2615107"/>
            <a:ext cx="3751966" cy="272786"/>
          </a:xfrm>
        </p:spPr>
        <p:txBody>
          <a:bodyPr/>
          <a:lstStyle/>
          <a:p>
            <a:r>
              <a:rPr lang="sr-Latn-RS" sz="2000" dirty="0"/>
              <a:t>Više detalja...</a:t>
            </a:r>
            <a:endParaRPr lang="en-US" sz="2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861CFA-7ED1-4D6F-8E8A-1D24A162EA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6076" y="3004812"/>
            <a:ext cx="4994624" cy="3481281"/>
          </a:xfrm>
        </p:spPr>
        <p:txBody>
          <a:bodyPr/>
          <a:lstStyle/>
          <a:p>
            <a:r>
              <a:rPr lang="pl-PL" sz="1600" dirty="0"/>
              <a:t>počeo sa radom u martu 2022. godine kao deo globalne mreže C4IR Svetskog ekonomskog foruma</a:t>
            </a:r>
          </a:p>
          <a:p>
            <a:r>
              <a:rPr lang="sr-Latn-RS" sz="1600" dirty="0"/>
              <a:t>deo Kancelarije za IT i eUpravu Vlade Republike Srbije</a:t>
            </a:r>
            <a:endParaRPr lang="en-US" sz="1600" dirty="0"/>
          </a:p>
          <a:p>
            <a:r>
              <a:rPr lang="sr-Latn-RS" sz="1600" dirty="0"/>
              <a:t>podrška Programa Ujedinjenih nacija za razvoj (UNDP)</a:t>
            </a:r>
            <a:endParaRPr lang="en-US" sz="1600" dirty="0"/>
          </a:p>
          <a:p>
            <a:r>
              <a:rPr lang="en-US" sz="1600" dirty="0"/>
              <a:t>prioriteti u radu: 1) biotehnologija i bionženjering i 2) upotreba veštačke inteligencije u zdravstvu</a:t>
            </a:r>
            <a:r>
              <a:rPr lang="sr-Latn-RS" sz="1600" dirty="0"/>
              <a:t> </a:t>
            </a:r>
            <a:endParaRPr lang="en-US" sz="1600" dirty="0"/>
          </a:p>
          <a:p>
            <a:r>
              <a:rPr lang="en-US" sz="1600" dirty="0"/>
              <a:t>nastoji da doprinese: razvoju personalizovane medicine; </a:t>
            </a:r>
            <a:r>
              <a:rPr lang="en-US" sz="1600" dirty="0" err="1"/>
              <a:t>primeni</a:t>
            </a:r>
            <a:r>
              <a:rPr lang="en-US" sz="1600" dirty="0"/>
              <a:t> </a:t>
            </a:r>
            <a:r>
              <a:rPr lang="en-US" sz="1600" dirty="0" err="1"/>
              <a:t>geneti</a:t>
            </a:r>
            <a:r>
              <a:rPr lang="sr-Latn-RS" sz="1600" dirty="0" err="1"/>
              <a:t>čkog</a:t>
            </a:r>
            <a:r>
              <a:rPr lang="en-US" sz="1600" dirty="0"/>
              <a:t> inženjeringa; proizvodnji i upotrebi novih lekova; mašinskom učenju; industriji podataka i sl.</a:t>
            </a:r>
          </a:p>
          <a:p>
            <a:endParaRPr lang="en-US" sz="16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9B38CE-B89B-496D-AF86-709E6922D2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553FD8C-7E07-4EBA-B808-1552EF466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Uvod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8F02C7-9344-4C81-92A7-5A9613B0DB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2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721371-CF36-41D6-ADA9-E81EA00EC63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6077" y="1403383"/>
            <a:ext cx="4994623" cy="997827"/>
          </a:xfrm>
        </p:spPr>
        <p:txBody>
          <a:bodyPr/>
          <a:lstStyle/>
          <a:p>
            <a:r>
              <a:rPr lang="en-US" sz="1800" dirty="0"/>
              <a:t>Osnovan u februaru 2022. godine od strane Vlade Republike Srbije i Svetskog ekonomskog foruma u Ženevi, Švajcarska</a:t>
            </a:r>
          </a:p>
          <a:p>
            <a:endParaRPr lang="en-US" sz="18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79FBC4-43C1-4FFA-B81C-B611DC4D9F1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6078" y="953732"/>
            <a:ext cx="3751965" cy="272786"/>
          </a:xfrm>
        </p:spPr>
        <p:txBody>
          <a:bodyPr/>
          <a:lstStyle/>
          <a:p>
            <a:r>
              <a:rPr lang="sr-Latn-RS" dirty="0"/>
              <a:t>O C4IR Srbij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131119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81374E-BC9D-0CDF-A491-0C2D2FEBE5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6078" y="3310818"/>
            <a:ext cx="5708650" cy="272786"/>
          </a:xfrm>
        </p:spPr>
        <p:txBody>
          <a:bodyPr/>
          <a:lstStyle/>
          <a:p>
            <a:r>
              <a:rPr lang="sr-Latn-RS" sz="2000" dirty="0"/>
              <a:t>Polja interesovanja</a:t>
            </a:r>
            <a:endParaRPr lang="en-US" sz="20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C8FA9F-85B6-5850-5F52-72A9E7720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D29CB4B-73B4-BE34-7692-6585CBC07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Uloge i projekti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12BE4D2-A69A-B2A7-8E8F-CA575B1B73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3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CA84DF-3C29-053E-E897-B253BBDD21C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6078" y="1348651"/>
            <a:ext cx="11169362" cy="2069516"/>
          </a:xfrm>
        </p:spPr>
        <p:txBody>
          <a:bodyPr/>
          <a:lstStyle/>
          <a:p>
            <a:r>
              <a:rPr lang="sr-Latn-RS" dirty="0"/>
              <a:t>1. Spaja nauku i privredu</a:t>
            </a:r>
          </a:p>
          <a:p>
            <a:pPr marL="517525" indent="-176213">
              <a:buFont typeface="Arial" panose="020B0604020202020204" pitchFamily="34" charset="0"/>
              <a:buChar char="•"/>
            </a:pPr>
            <a:r>
              <a:rPr lang="sr-Latn-RS" sz="1500" b="0" dirty="0"/>
              <a:t>razvijanje kolaborativnih web platformi i omogućavanje fundamentalnih istraživanja u oblasti biotehnologije, molekularne biologije i medicine u svrhe razvoja privrede</a:t>
            </a:r>
          </a:p>
          <a:p>
            <a:pPr marL="517525" indent="-176213">
              <a:buFont typeface="Arial" panose="020B0604020202020204" pitchFamily="34" charset="0"/>
              <a:buChar char="•"/>
            </a:pPr>
            <a:r>
              <a:rPr lang="sr-Latn-RS" sz="1500" b="0" dirty="0"/>
              <a:t>stvaranje ekosistema za razvoj i primenu biotehnologije i bioinformatike </a:t>
            </a:r>
          </a:p>
          <a:p>
            <a:pPr>
              <a:lnSpc>
                <a:spcPct val="150000"/>
              </a:lnSpc>
            </a:pPr>
            <a:r>
              <a:rPr lang="sr-Latn-RS" dirty="0"/>
              <a:t>2. Reguliše inovacije</a:t>
            </a:r>
          </a:p>
          <a:p>
            <a:pPr marL="517525" indent="-176213">
              <a:buFont typeface="Arial" panose="020B0604020202020204" pitchFamily="34" charset="0"/>
              <a:buChar char="•"/>
            </a:pPr>
            <a:r>
              <a:rPr lang="sr-Latn-RS" sz="1500" b="0" dirty="0"/>
              <a:t>podsticanje primene tehnologije uz zaštitu prava i informacija</a:t>
            </a:r>
          </a:p>
          <a:p>
            <a:pPr marL="517525" indent="-176213">
              <a:buFont typeface="Arial" panose="020B0604020202020204" pitchFamily="34" charset="0"/>
              <a:buChar char="•"/>
            </a:pPr>
            <a:r>
              <a:rPr lang="sr-Latn-RS" sz="1500" b="0" dirty="0"/>
              <a:t>regulisanje upotrebe i razvoja novih tehnologija u zdravstvu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C99CE6-4776-B428-BA58-FFEDB5CD5A3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6078" y="939800"/>
            <a:ext cx="11569700" cy="272786"/>
          </a:xfrm>
        </p:spPr>
        <p:txBody>
          <a:bodyPr/>
          <a:lstStyle/>
          <a:p>
            <a:r>
              <a:rPr lang="sr-Latn-RS" dirty="0"/>
              <a:t>Glavne uloge</a:t>
            </a:r>
            <a:endParaRPr lang="en-US" dirty="0"/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C5454317-7733-4755-BF96-F5FC272273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5762083"/>
              </p:ext>
            </p:extLst>
          </p:nvPr>
        </p:nvGraphicFramePr>
        <p:xfrm>
          <a:off x="606076" y="3723983"/>
          <a:ext cx="11169364" cy="2843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2341">
                  <a:extLst>
                    <a:ext uri="{9D8B030D-6E8A-4147-A177-3AD203B41FA5}">
                      <a16:colId xmlns:a16="http://schemas.microsoft.com/office/drawing/2014/main" val="487044226"/>
                    </a:ext>
                  </a:extLst>
                </a:gridCol>
                <a:gridCol w="2792341">
                  <a:extLst>
                    <a:ext uri="{9D8B030D-6E8A-4147-A177-3AD203B41FA5}">
                      <a16:colId xmlns:a16="http://schemas.microsoft.com/office/drawing/2014/main" val="2381389863"/>
                    </a:ext>
                  </a:extLst>
                </a:gridCol>
                <a:gridCol w="2792341">
                  <a:extLst>
                    <a:ext uri="{9D8B030D-6E8A-4147-A177-3AD203B41FA5}">
                      <a16:colId xmlns:a16="http://schemas.microsoft.com/office/drawing/2014/main" val="2552671475"/>
                    </a:ext>
                  </a:extLst>
                </a:gridCol>
                <a:gridCol w="2792341">
                  <a:extLst>
                    <a:ext uri="{9D8B030D-6E8A-4147-A177-3AD203B41FA5}">
                      <a16:colId xmlns:a16="http://schemas.microsoft.com/office/drawing/2014/main" val="3707040556"/>
                    </a:ext>
                  </a:extLst>
                </a:gridCol>
              </a:tblGrid>
              <a:tr h="785824"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>
                          <a:solidFill>
                            <a:schemeClr val="tx1"/>
                          </a:solidFill>
                          <a:latin typeface="HelveticaNeueLT Pro 35 Th" panose="020B0403020202020204"/>
                        </a:rPr>
                        <a:t>Platforma za genetičke i biomedicinske podatke</a:t>
                      </a:r>
                      <a:endParaRPr lang="en-US" sz="1600" dirty="0">
                        <a:solidFill>
                          <a:schemeClr val="tx1"/>
                        </a:solidFill>
                        <a:latin typeface="HelveticaNeueLT Pro 35 Th" panose="020B0403020202020204"/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2A419A">
                            <a:tint val="66000"/>
                            <a:satMod val="160000"/>
                          </a:srgbClr>
                        </a:gs>
                        <a:gs pos="50000">
                          <a:srgbClr val="2A419A">
                            <a:tint val="44500"/>
                            <a:satMod val="160000"/>
                          </a:srgbClr>
                        </a:gs>
                        <a:gs pos="100000">
                          <a:srgbClr val="2A419A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>
                          <a:solidFill>
                            <a:schemeClr val="tx1"/>
                          </a:solidFill>
                          <a:latin typeface="HelveticaNeueLT Pro 35 Th" panose="020B0403020202020204"/>
                        </a:rPr>
                        <a:t>DNK skrining</a:t>
                      </a:r>
                      <a:endParaRPr lang="en-US" sz="1600" dirty="0">
                        <a:solidFill>
                          <a:schemeClr val="tx1"/>
                        </a:solidFill>
                        <a:latin typeface="HelveticaNeueLT Pro 35 Th" panose="020B0403020202020204"/>
                      </a:endParaRPr>
                    </a:p>
                    <a:p>
                      <a:pPr algn="ctr"/>
                      <a:endParaRPr lang="en-US" sz="1600" dirty="0">
                        <a:latin typeface="HelveticaNeueLT Pro 35 Th" panose="020B0403020202020204"/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2A419A">
                            <a:tint val="66000"/>
                            <a:satMod val="160000"/>
                          </a:srgbClr>
                        </a:gs>
                        <a:gs pos="50000">
                          <a:srgbClr val="2A419A">
                            <a:tint val="44500"/>
                            <a:satMod val="160000"/>
                          </a:srgbClr>
                        </a:gs>
                        <a:gs pos="100000">
                          <a:srgbClr val="2A419A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HelveticaNeueLT Pro 35 Th" panose="020B0403020202020204"/>
                        </a:rPr>
                        <a:t>Analize</a:t>
                      </a:r>
                    </a:p>
                    <a:p>
                      <a:pPr algn="ctr"/>
                      <a:endParaRPr lang="en-US" sz="1600" dirty="0">
                        <a:latin typeface="HelveticaNeueLT Pro 35 Th" panose="020B0403020202020204"/>
                      </a:endParaRPr>
                    </a:p>
                  </a:txBody>
                  <a:tcPr anchor="ctr">
                    <a:gradFill flip="none" rotWithShape="1">
                      <a:gsLst>
                        <a:gs pos="0">
                          <a:srgbClr val="2A419A">
                            <a:tint val="66000"/>
                            <a:satMod val="160000"/>
                          </a:srgbClr>
                        </a:gs>
                        <a:gs pos="50000">
                          <a:srgbClr val="2A419A">
                            <a:tint val="44500"/>
                            <a:satMod val="160000"/>
                          </a:srgbClr>
                        </a:gs>
                        <a:gs pos="100000">
                          <a:srgbClr val="2A419A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>
                          <a:solidFill>
                            <a:schemeClr val="tx1"/>
                          </a:solidFill>
                          <a:latin typeface="HelveticaNeueLT Pro 35 Th" panose="020B0403020202020204"/>
                        </a:rPr>
                        <a:t>Jačanje biotehnološkog ekosistema</a:t>
                      </a:r>
                    </a:p>
                  </a:txBody>
                  <a:tcPr anchor="ctr">
                    <a:gradFill flip="none" rotWithShape="1">
                      <a:gsLst>
                        <a:gs pos="0">
                          <a:srgbClr val="2A419A">
                            <a:tint val="66000"/>
                            <a:satMod val="160000"/>
                          </a:srgbClr>
                        </a:gs>
                        <a:gs pos="50000">
                          <a:srgbClr val="2A419A">
                            <a:tint val="44500"/>
                            <a:satMod val="160000"/>
                          </a:srgbClr>
                        </a:gs>
                        <a:gs pos="100000">
                          <a:srgbClr val="2A419A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063335984"/>
                  </a:ext>
                </a:extLst>
              </a:tr>
              <a:tr h="1872815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r-Latn-RS" sz="1300" dirty="0">
                          <a:latin typeface="HelveticaNeueLT Pro 35 Th" panose="020B0403020202020204"/>
                        </a:rPr>
                        <a:t>J</a:t>
                      </a:r>
                      <a:r>
                        <a:rPr lang="en-US" sz="1300" dirty="0" err="1">
                          <a:latin typeface="HelveticaNeueLT Pro 35 Th" panose="020B0403020202020204"/>
                        </a:rPr>
                        <a:t>edinstven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i</a:t>
                      </a:r>
                      <a:r>
                        <a:rPr lang="en-US" sz="1300" dirty="0">
                          <a:latin typeface="HelveticaNeueLT Pro 35 Th" panose="020B0403020202020204"/>
                        </a:rPr>
                        <a:t> 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repozitorijum genetičkih podataka</a:t>
                      </a:r>
                      <a:endParaRPr lang="en-US" sz="1300" dirty="0">
                        <a:latin typeface="HelveticaNeueLT Pro 35 Th" panose="020B0403020202020204"/>
                      </a:endParaRP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r-Latn-RS" sz="1300" dirty="0">
                          <a:latin typeface="HelveticaNeueLT Pro 35 Th" panose="020B0403020202020204"/>
                        </a:rPr>
                        <a:t>P</a:t>
                      </a:r>
                      <a:r>
                        <a:rPr lang="nn-NO" sz="1300" dirty="0">
                          <a:latin typeface="HelveticaNeueLT Pro 35 Th" panose="020B0403020202020204"/>
                        </a:rPr>
                        <a:t>ovezivanje zdravstvenim 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podacima</a:t>
                      </a:r>
                      <a:endParaRPr lang="nn-NO" sz="1300" dirty="0">
                        <a:latin typeface="HelveticaNeueLT Pro 35 Th" panose="020B0403020202020204"/>
                      </a:endParaRP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l-PL" sz="1300" dirty="0">
                          <a:latin typeface="HelveticaNeueLT Pro 35 Th" panose="020B0403020202020204"/>
                        </a:rPr>
                        <a:t>Sekundarno korišćenje i deljenje podataka</a:t>
                      </a: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pl-PL" sz="1300" dirty="0">
                          <a:latin typeface="HelveticaNeueLT Pro 35 Th" panose="020B0403020202020204"/>
                        </a:rPr>
                        <a:t>Funkcionalna i tehnička specifikacija</a:t>
                      </a:r>
                    </a:p>
                  </a:txBody>
                  <a:tcPr>
                    <a:gradFill flip="none" rotWithShape="1">
                      <a:gsLst>
                        <a:gs pos="0">
                          <a:srgbClr val="2A419A">
                            <a:tint val="66000"/>
                            <a:satMod val="160000"/>
                          </a:srgbClr>
                        </a:gs>
                        <a:gs pos="50000">
                          <a:srgbClr val="2A419A">
                            <a:tint val="44500"/>
                            <a:satMod val="160000"/>
                          </a:srgbClr>
                        </a:gs>
                        <a:gs pos="100000">
                          <a:srgbClr val="2A419A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HelveticaNeueLT Pro 35 Th" panose="020B0403020202020204"/>
                        </a:rPr>
                        <a:t>Sekvenciranje 1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 </a:t>
                      </a:r>
                      <a:r>
                        <a:rPr lang="en-US" sz="1300" dirty="0">
                          <a:latin typeface="HelveticaNeueLT Pro 35 Th" panose="020B0403020202020204"/>
                        </a:rPr>
                        <a:t>000 </a:t>
                      </a:r>
                      <a:r>
                        <a:rPr lang="sr-Latn-RS" sz="1300" dirty="0" err="1">
                          <a:latin typeface="HelveticaNeueLT Pro 35 Th" panose="020B0403020202020204"/>
                        </a:rPr>
                        <a:t>egzoma</a:t>
                      </a:r>
                      <a:endParaRPr lang="en-US" sz="1300" dirty="0">
                        <a:latin typeface="HelveticaNeueLT Pro 35 Th" panose="020B0403020202020204"/>
                      </a:endParaRP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HelveticaNeueLT Pro 35 Th" panose="020B0403020202020204"/>
                        </a:rPr>
                        <a:t>Prevencija kardiovaskularnih i </a:t>
                      </a:r>
                      <a:r>
                        <a:rPr lang="en-US" sz="1300" dirty="0" err="1">
                          <a:latin typeface="HelveticaNeueLT Pro 35 Th" panose="020B0403020202020204"/>
                        </a:rPr>
                        <a:t>onkoloških</a:t>
                      </a:r>
                      <a:r>
                        <a:rPr lang="en-US" sz="1300" dirty="0">
                          <a:latin typeface="HelveticaNeueLT Pro 35 Th" panose="020B0403020202020204"/>
                        </a:rPr>
                        <a:t> bolesti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, </a:t>
                      </a:r>
                      <a:r>
                        <a:rPr lang="sr-Latn-RS" sz="1300" dirty="0" err="1">
                          <a:latin typeface="HelveticaNeueLT Pro 35 Th" panose="020B0403020202020204"/>
                        </a:rPr>
                        <a:t>farmakogenetika</a:t>
                      </a:r>
                      <a:endParaRPr lang="en-US" sz="1300" dirty="0">
                        <a:latin typeface="HelveticaNeueLT Pro 35 Th" panose="020B0403020202020204"/>
                      </a:endParaRP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HelveticaNeueLT Pro 35 Th" panose="020B0403020202020204"/>
                        </a:rPr>
                        <a:t>Kreiranje protokola za genet</a:t>
                      </a:r>
                      <a:r>
                        <a:rPr lang="sr-Latn-RS" sz="1300" dirty="0" err="1">
                          <a:latin typeface="HelveticaNeueLT Pro 35 Th" panose="020B0403020202020204"/>
                        </a:rPr>
                        <a:t>ičko</a:t>
                      </a:r>
                      <a:r>
                        <a:rPr lang="en-US" sz="1300" dirty="0">
                          <a:latin typeface="HelveticaNeueLT Pro 35 Th" panose="020B0403020202020204"/>
                        </a:rPr>
                        <a:t> savetovanje</a:t>
                      </a: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HelveticaNeueLT Pro 35 Th" panose="020B0403020202020204"/>
                        </a:rPr>
                        <a:t>Generisanje standardizovanog skupa podataka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 </a:t>
                      </a:r>
                      <a:endParaRPr lang="en-US" sz="1300" dirty="0">
                        <a:latin typeface="HelveticaNeueLT Pro 35 Th" panose="020B0403020202020204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rgbClr val="2A419A">
                            <a:tint val="66000"/>
                            <a:satMod val="160000"/>
                          </a:srgbClr>
                        </a:gs>
                        <a:gs pos="50000">
                          <a:srgbClr val="2A419A">
                            <a:tint val="44500"/>
                            <a:satMod val="160000"/>
                          </a:srgbClr>
                        </a:gs>
                        <a:gs pos="100000">
                          <a:srgbClr val="2A419A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r-Latn-RS" sz="1300" dirty="0">
                          <a:latin typeface="HelveticaNeueLT Pro 35 Th" panose="020B0403020202020204"/>
                        </a:rPr>
                        <a:t>Regulativa - tehnologije 4IR</a:t>
                      </a:r>
                      <a:endParaRPr lang="en-US" sz="1300" dirty="0">
                        <a:latin typeface="HelveticaNeueLT Pro 35 Th" panose="020B0403020202020204"/>
                      </a:endParaRP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HelveticaNeueLT Pro 35 Th" panose="020B0403020202020204"/>
                        </a:rPr>
                        <a:t>Inform</a:t>
                      </a:r>
                      <a:r>
                        <a:rPr lang="sr-Latn-RS" sz="1300" dirty="0" err="1">
                          <a:latin typeface="HelveticaNeueLT Pro 35 Th" panose="020B0403020202020204"/>
                        </a:rPr>
                        <a:t>isana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 saglasnost - standardizacija</a:t>
                      </a:r>
                      <a:endParaRPr lang="en-US" sz="1300" dirty="0">
                        <a:latin typeface="HelveticaNeueLT Pro 35 Th" panose="020B0403020202020204"/>
                      </a:endParaRP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r-Latn-RS" sz="1300" dirty="0" err="1">
                          <a:latin typeface="HelveticaNeueLT Pro 35 Th" panose="020B0403020202020204"/>
                        </a:rPr>
                        <a:t>Genomski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 ekosistem Srbije</a:t>
                      </a:r>
                      <a:endParaRPr lang="en-US" sz="1300" dirty="0">
                        <a:latin typeface="HelveticaNeueLT Pro 35 Th" panose="020B0403020202020204"/>
                      </a:endParaRP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r-Latn-RS" sz="1300" dirty="0">
                          <a:latin typeface="HelveticaNeueLT Pro 35 Th" panose="020B0403020202020204"/>
                        </a:rPr>
                        <a:t>Ekonomske analize</a:t>
                      </a:r>
                      <a:r>
                        <a:rPr lang="en-US" sz="1300" dirty="0">
                          <a:latin typeface="HelveticaNeueLT Pro 35 Th" panose="020B0403020202020204"/>
                        </a:rPr>
                        <a:t> (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pr.</a:t>
                      </a:r>
                      <a:r>
                        <a:rPr lang="en-US" sz="1300" dirty="0">
                          <a:latin typeface="HelveticaNeueLT Pro 35 Th" panose="020B0403020202020204"/>
                        </a:rPr>
                        <a:t> NIPT test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ovi</a:t>
                      </a:r>
                      <a:r>
                        <a:rPr lang="en-US" sz="1300" dirty="0">
                          <a:latin typeface="HelveticaNeueLT Pro 35 Th" panose="020B0403020202020204"/>
                        </a:rPr>
                        <a:t>)</a:t>
                      </a:r>
                    </a:p>
                  </a:txBody>
                  <a:tcPr>
                    <a:gradFill flip="none" rotWithShape="1">
                      <a:gsLst>
                        <a:gs pos="0">
                          <a:srgbClr val="2A419A">
                            <a:tint val="66000"/>
                            <a:satMod val="160000"/>
                          </a:srgbClr>
                        </a:gs>
                        <a:gs pos="50000">
                          <a:srgbClr val="2A419A">
                            <a:tint val="44500"/>
                            <a:satMod val="160000"/>
                          </a:srgbClr>
                        </a:gs>
                        <a:gs pos="100000">
                          <a:srgbClr val="2A419A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r-Latn-RS" sz="1300" dirty="0">
                          <a:latin typeface="HelveticaNeueLT Pro 35 Th" panose="020B0403020202020204"/>
                        </a:rPr>
                        <a:t>Infrastruktura</a:t>
                      </a: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HelveticaNeueLT Pro 35 Th" panose="020B0403020202020204"/>
                        </a:rPr>
                        <a:t>Biotech Future Forum</a:t>
                      </a: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HelveticaNeueLT Pro 35 Th" panose="020B0403020202020204"/>
                        </a:rPr>
                        <a:t>Podrška bioinformatičkoj istraživačkoj zajednici</a:t>
                      </a: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HelveticaNeueLT Pro 35 Th" panose="020B0403020202020204"/>
                        </a:rPr>
                        <a:t>Master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/obuke iz </a:t>
                      </a:r>
                      <a:r>
                        <a:rPr lang="sr-Latn-RS" sz="1300" dirty="0" err="1">
                          <a:latin typeface="HelveticaNeueLT Pro 35 Th" panose="020B0403020202020204"/>
                        </a:rPr>
                        <a:t>bioinformatike</a:t>
                      </a:r>
                      <a:endParaRPr lang="en-US" sz="1300" dirty="0">
                        <a:latin typeface="HelveticaNeueLT Pro 35 Th" panose="020B0403020202020204"/>
                      </a:endParaRPr>
                    </a:p>
                    <a:p>
                      <a:pPr marL="285750" indent="-285750"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300" dirty="0">
                          <a:latin typeface="HelveticaNeueLT Pro 35 Th" panose="020B0403020202020204"/>
                        </a:rPr>
                        <a:t>Saradnja sa međunarodnim organizacijama</a:t>
                      </a:r>
                      <a:r>
                        <a:rPr lang="sr-Latn-RS" sz="1300" dirty="0">
                          <a:latin typeface="HelveticaNeueLT Pro 35 Th" panose="020B0403020202020204"/>
                        </a:rPr>
                        <a:t> </a:t>
                      </a:r>
                      <a:endParaRPr lang="en-US" sz="1300" dirty="0">
                        <a:latin typeface="HelveticaNeueLT Pro 35 Th" panose="020B0403020202020204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rgbClr val="2A419A">
                            <a:tint val="66000"/>
                            <a:satMod val="160000"/>
                          </a:srgbClr>
                        </a:gs>
                        <a:gs pos="50000">
                          <a:srgbClr val="2A419A">
                            <a:tint val="44500"/>
                            <a:satMod val="160000"/>
                          </a:srgbClr>
                        </a:gs>
                        <a:gs pos="100000">
                          <a:srgbClr val="2A419A">
                            <a:tint val="23500"/>
                            <a:satMod val="160000"/>
                          </a:srgbClr>
                        </a:gs>
                      </a:gsLst>
                      <a:lin ang="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699289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9577183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A2B486-C0CF-459A-A9D1-FC7A5E8861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F669B8-FB13-4389-8D94-D580A729D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Aktivnosti koje su u toku..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C3C168-4C82-4B37-8A02-102248C01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4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B70A57-B2C8-44EB-90D3-89E0D4C3C7E7}"/>
              </a:ext>
            </a:extLst>
          </p:cNvPr>
          <p:cNvSpPr txBox="1"/>
          <p:nvPr/>
        </p:nvSpPr>
        <p:spPr>
          <a:xfrm>
            <a:off x="606078" y="496312"/>
            <a:ext cx="10996642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sr-Latn-RS" sz="1600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sz="1600" b="1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 err="1">
                <a:latin typeface="HelveticaNeueLT Pro 35 Th" panose="020B0403020202020204"/>
              </a:rPr>
              <a:t>Analiza</a:t>
            </a:r>
            <a:r>
              <a:rPr lang="en-US" sz="1600" b="1" i="1" dirty="0">
                <a:latin typeface="HelveticaNeueLT Pro 35 Th" panose="020B0403020202020204"/>
              </a:rPr>
              <a:t> </a:t>
            </a:r>
            <a:r>
              <a:rPr lang="en-US" sz="1600" b="1" i="1" dirty="0" err="1">
                <a:latin typeface="HelveticaNeueLT Pro 35 Th" panose="020B0403020202020204"/>
              </a:rPr>
              <a:t>kapaciteta</a:t>
            </a:r>
            <a:r>
              <a:rPr lang="en-US" sz="1600" b="1" i="1" dirty="0">
                <a:latin typeface="HelveticaNeueLT Pro 35 Th" panose="020B0403020202020204"/>
              </a:rPr>
              <a:t> za </a:t>
            </a:r>
            <a:r>
              <a:rPr lang="en-US" sz="1600" b="1" i="1" dirty="0" err="1">
                <a:latin typeface="HelveticaNeueLT Pro 35 Th" panose="020B0403020202020204"/>
              </a:rPr>
              <a:t>sekvenciranje</a:t>
            </a:r>
            <a:r>
              <a:rPr lang="en-US" sz="1600" b="1" i="1" dirty="0">
                <a:latin typeface="HelveticaNeueLT Pro 35 Th" panose="020B0403020202020204"/>
              </a:rPr>
              <a:t> </a:t>
            </a:r>
            <a:r>
              <a:rPr lang="en-US" sz="1600" b="1" i="1" dirty="0" err="1">
                <a:latin typeface="HelveticaNeueLT Pro 35 Th" panose="020B0403020202020204"/>
              </a:rPr>
              <a:t>sledeće</a:t>
            </a:r>
            <a:r>
              <a:rPr lang="en-US" sz="1600" b="1" i="1" dirty="0">
                <a:latin typeface="HelveticaNeueLT Pro 35 Th" panose="020B0403020202020204"/>
              </a:rPr>
              <a:t> </a:t>
            </a:r>
            <a:r>
              <a:rPr lang="en-US" sz="1600" b="1" i="1" dirty="0" err="1">
                <a:latin typeface="HelveticaNeueLT Pro 35 Th" panose="020B0403020202020204"/>
              </a:rPr>
              <a:t>generacije</a:t>
            </a:r>
            <a:r>
              <a:rPr lang="en-US" sz="1600" b="1" i="1" dirty="0">
                <a:latin typeface="HelveticaNeueLT Pro 35 Th" panose="020B0403020202020204"/>
              </a:rPr>
              <a:t> (NGS) u </a:t>
            </a:r>
            <a:r>
              <a:rPr lang="en-US" sz="1600" b="1" i="1" dirty="0" err="1">
                <a:latin typeface="HelveticaNeueLT Pro 35 Th" panose="020B0403020202020204"/>
              </a:rPr>
              <a:t>Srbiji</a:t>
            </a:r>
            <a:r>
              <a:rPr lang="en-US" sz="1600" b="1" i="1" dirty="0">
                <a:latin typeface="HelveticaNeueLT Pro 35 Th" panose="020B0403020202020204"/>
              </a:rPr>
              <a:t> </a:t>
            </a:r>
            <a:r>
              <a:rPr lang="en-US" sz="1600" i="1" dirty="0">
                <a:latin typeface="HelveticaNeueLT Pro 35 Th" panose="020B0403020202020204"/>
              </a:rPr>
              <a:t>– </a:t>
            </a:r>
            <a:r>
              <a:rPr lang="en-US" sz="1600" i="1" dirty="0" err="1">
                <a:latin typeface="HelveticaNeueLT Pro 35 Th" panose="020B0403020202020204"/>
              </a:rPr>
              <a:t>publikacija</a:t>
            </a:r>
            <a:r>
              <a:rPr lang="en-US" sz="1600" i="1" dirty="0">
                <a:latin typeface="HelveticaNeueLT Pro 35 Th" panose="020B0403020202020204"/>
              </a:rPr>
              <a:t> u </a:t>
            </a:r>
            <a:r>
              <a:rPr lang="en-US" sz="1600" i="1" dirty="0" err="1">
                <a:latin typeface="HelveticaNeueLT Pro 35 Th" panose="020B0403020202020204"/>
              </a:rPr>
              <a:t>pripremi</a:t>
            </a:r>
            <a:endParaRPr lang="en-US" sz="1600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sz="1600" b="1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600" b="1" i="1" dirty="0">
                <a:latin typeface="HelveticaNeueLT Pro 35 Th" panose="020B0403020202020204"/>
              </a:rPr>
              <a:t>Rad na funkcionalnoj i tehničkoj specifikaciji </a:t>
            </a:r>
            <a:r>
              <a:rPr lang="pl-PL" sz="1600" b="1" i="1" dirty="0">
                <a:latin typeface="HelveticaNeueLT Pro 35 Th" panose="020B0403020202020204"/>
              </a:rPr>
              <a:t>Platforme za genetičke i biomedicine podatke </a:t>
            </a:r>
            <a:endParaRPr lang="sr-Latn-RS" sz="1600" b="1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sz="1600" b="1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600" b="1" i="1" dirty="0">
                <a:latin typeface="HelveticaNeueLT Pro 35 Th" panose="020B0403020202020204"/>
              </a:rPr>
              <a:t>Rad na pravnoj regulativi u vezi Platforme za genetičke i biomedicine podatk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sz="1600" b="1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600" b="1" i="1" dirty="0">
                <a:latin typeface="HelveticaNeueLT Pro 35 Th" panose="020B0403020202020204"/>
              </a:rPr>
              <a:t>Konceptualizacija i okupljanje zainteresovanih strana za pilot projekat DNK skrining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sz="1600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 err="1">
                <a:latin typeface="HelveticaNeueLT Pro 35 Th" panose="020B0403020202020204"/>
              </a:rPr>
              <a:t>Uporedne</a:t>
            </a:r>
            <a:r>
              <a:rPr lang="en-US" sz="1600" b="1" i="1" dirty="0">
                <a:latin typeface="HelveticaNeueLT Pro 35 Th" panose="020B0403020202020204"/>
              </a:rPr>
              <a:t> </a:t>
            </a:r>
            <a:r>
              <a:rPr lang="en-US" sz="1600" b="1" i="1" dirty="0" err="1">
                <a:latin typeface="HelveticaNeueLT Pro 35 Th" panose="020B0403020202020204"/>
              </a:rPr>
              <a:t>pravne</a:t>
            </a:r>
            <a:r>
              <a:rPr lang="sr-Latn-RS" sz="1600" b="1" i="1" dirty="0">
                <a:latin typeface="HelveticaNeueLT Pro 35 Th" panose="020B0403020202020204"/>
              </a:rPr>
              <a:t>/ekonomske</a:t>
            </a:r>
            <a:r>
              <a:rPr lang="en-US" sz="1600" b="1" i="1" dirty="0">
                <a:latin typeface="HelveticaNeueLT Pro 35 Th" panose="020B0403020202020204"/>
              </a:rPr>
              <a:t> analize za različitu primenu novih tehnologija u zdravstvu</a:t>
            </a:r>
            <a:r>
              <a:rPr lang="en-US" sz="1600" i="1" dirty="0">
                <a:latin typeface="HelveticaNeueLT Pro 35 Th" panose="020B0403020202020204"/>
              </a:rPr>
              <a:t>,</a:t>
            </a:r>
            <a:r>
              <a:rPr lang="sr-Latn-RS" sz="1600" i="1" dirty="0">
                <a:latin typeface="HelveticaNeueLT Pro 35 Th" panose="020B0403020202020204"/>
              </a:rPr>
              <a:t> poput </a:t>
            </a:r>
            <a:r>
              <a:rPr lang="en-US" sz="1600" i="1" dirty="0">
                <a:latin typeface="HelveticaNeueLT Pro 35 Th" panose="020B0403020202020204"/>
              </a:rPr>
              <a:t>banka matičnih ćelija, uvoz i/ili izvoz biološkog materijala itd.</a:t>
            </a:r>
            <a:r>
              <a:rPr lang="sr-Latn-RS" sz="1600" i="1" dirty="0">
                <a:latin typeface="HelveticaNeueLT Pro 35 Th" panose="020B0403020202020204"/>
              </a:rPr>
              <a:t> </a:t>
            </a:r>
            <a:endParaRPr lang="en-US" sz="1600" i="1" dirty="0">
              <a:latin typeface="HelveticaNeueLT Pro 35 Th" panose="020B0403020202020204"/>
            </a:endParaRPr>
          </a:p>
          <a:p>
            <a:endParaRPr lang="en-US" sz="1600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 err="1">
                <a:latin typeface="HelveticaNeueLT Pro 35 Th" panose="020B0403020202020204"/>
              </a:rPr>
              <a:t>Radionice</a:t>
            </a:r>
            <a:r>
              <a:rPr lang="en-US" sz="1600" b="1" i="1" dirty="0">
                <a:latin typeface="HelveticaNeueLT Pro 35 Th" panose="020B0403020202020204"/>
              </a:rPr>
              <a:t> sa </a:t>
            </a:r>
            <a:r>
              <a:rPr lang="sr-Latn-RS" sz="1600" b="1" i="1" dirty="0">
                <a:latin typeface="HelveticaNeueLT Pro 35 Th" panose="020B0403020202020204"/>
              </a:rPr>
              <a:t>biobankama </a:t>
            </a:r>
            <a:r>
              <a:rPr lang="en-US" sz="1600" b="1" i="1" dirty="0">
                <a:latin typeface="HelveticaNeueLT Pro 35 Th" panose="020B0403020202020204"/>
              </a:rPr>
              <a:t>širom sveta – WEF stručnjaci, </a:t>
            </a:r>
            <a:r>
              <a:rPr lang="sr-Latn-RS" sz="1600" b="1" i="1" dirty="0">
                <a:latin typeface="HelveticaNeueLT Pro 35 Th" panose="020B0403020202020204"/>
              </a:rPr>
              <a:t>organizacije poput </a:t>
            </a:r>
            <a:r>
              <a:rPr lang="en-US" sz="1600" b="1" i="1" dirty="0">
                <a:latin typeface="HelveticaNeueLT Pro 35 Th" panose="020B0403020202020204"/>
              </a:rPr>
              <a:t>GA4GH, EBI, itd</a:t>
            </a:r>
            <a:r>
              <a:rPr lang="sr-Latn-RS" sz="1600" b="1" i="1" dirty="0">
                <a:latin typeface="HelveticaNeueLT Pro 35 Th" panose="020B0403020202020204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>
                <a:latin typeface="HelveticaNeueLT Pro 35 Th" panose="020B0403020202020204"/>
              </a:rPr>
              <a:t>Okupljanje relevantnih aktera u ekosistemu </a:t>
            </a:r>
            <a:r>
              <a:rPr lang="en-US" sz="1600" i="1" dirty="0">
                <a:latin typeface="HelveticaNeueLT Pro 35 Th" panose="020B0403020202020204"/>
              </a:rPr>
              <a:t>– sastanci sa IT kompanijama koje rade AI u zdravstvu, istraživačk</a:t>
            </a:r>
            <a:r>
              <a:rPr lang="sr-Latn-RS" sz="1600" i="1" dirty="0">
                <a:latin typeface="HelveticaNeueLT Pro 35 Th" panose="020B0403020202020204"/>
              </a:rPr>
              <a:t>im</a:t>
            </a:r>
            <a:r>
              <a:rPr lang="en-US" sz="1600" i="1" dirty="0">
                <a:latin typeface="HelveticaNeueLT Pro 35 Th" panose="020B0403020202020204"/>
              </a:rPr>
              <a:t> organizacij</a:t>
            </a:r>
            <a:r>
              <a:rPr lang="sr-Latn-RS" sz="1600" i="1" dirty="0">
                <a:latin typeface="HelveticaNeueLT Pro 35 Th" panose="020B0403020202020204"/>
              </a:rPr>
              <a:t>ama</a:t>
            </a:r>
            <a:r>
              <a:rPr lang="en-US" sz="1600" i="1" dirty="0">
                <a:latin typeface="HelveticaNeueLT Pro 35 Th" panose="020B0403020202020204"/>
              </a:rPr>
              <a:t>, farmaceutsk</a:t>
            </a:r>
            <a:r>
              <a:rPr lang="sr-Latn-RS" sz="1600" i="1" dirty="0">
                <a:latin typeface="HelveticaNeueLT Pro 35 Th" panose="020B0403020202020204"/>
              </a:rPr>
              <a:t>im</a:t>
            </a:r>
            <a:r>
              <a:rPr lang="en-US" sz="1600" i="1" dirty="0">
                <a:latin typeface="HelveticaNeueLT Pro 35 Th" panose="020B0403020202020204"/>
              </a:rPr>
              <a:t> kompanij</a:t>
            </a:r>
            <a:r>
              <a:rPr lang="sr-Latn-RS" sz="1600" i="1" dirty="0">
                <a:latin typeface="HelveticaNeueLT Pro 35 Th" panose="020B0403020202020204"/>
              </a:rPr>
              <a:t>ama</a:t>
            </a:r>
            <a:r>
              <a:rPr lang="en-US" sz="1600" i="1" dirty="0">
                <a:latin typeface="HelveticaNeueLT Pro 35 Th" panose="020B0403020202020204"/>
              </a:rPr>
              <a:t>, </a:t>
            </a:r>
            <a:r>
              <a:rPr lang="sr-Latn-RS" sz="1600" i="1" dirty="0">
                <a:latin typeface="HelveticaNeueLT Pro 35 Th" panose="020B0403020202020204"/>
              </a:rPr>
              <a:t>lekarima</a:t>
            </a:r>
            <a:r>
              <a:rPr lang="en-US" sz="1600" i="1" dirty="0">
                <a:latin typeface="HelveticaNeueLT Pro 35 Th" panose="020B0403020202020204"/>
              </a:rPr>
              <a:t>, </a:t>
            </a:r>
            <a:r>
              <a:rPr lang="sr-Latn-RS" sz="1600" i="1" dirty="0">
                <a:latin typeface="HelveticaNeueLT Pro 35 Th" panose="020B0403020202020204"/>
              </a:rPr>
              <a:t>udruženjima</a:t>
            </a:r>
            <a:r>
              <a:rPr lang="en-US" sz="1600" i="1" dirty="0">
                <a:latin typeface="HelveticaNeueLT Pro 35 Th" panose="020B0403020202020204"/>
              </a:rPr>
              <a:t> pacijenata</a:t>
            </a:r>
            <a:r>
              <a:rPr lang="sr-Latn-RS" sz="1600" i="1" dirty="0">
                <a:latin typeface="HelveticaNeueLT Pro 35 Th" panose="020B0403020202020204"/>
              </a:rPr>
              <a:t>...</a:t>
            </a:r>
            <a:endParaRPr lang="en-US" sz="1600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sz="1600" b="1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sz="1600" b="1" i="1" dirty="0">
                <a:latin typeface="HelveticaNeueLT Pro 35 Th" panose="020B0403020202020204"/>
              </a:rPr>
              <a:t>Konceptualizacija Mastera/obuka iz bioinformatik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sz="1600" b="1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i="1" dirty="0">
                <a:latin typeface="HelveticaNeueLT Pro 35 Th" panose="020B0403020202020204"/>
              </a:rPr>
              <a:t>Saradnja sa Ministarstvom nauke, inovacija i tehnološkog razvoja, u </a:t>
            </a:r>
            <a:r>
              <a:rPr lang="en-US" sz="1600" b="1" i="1" dirty="0" err="1">
                <a:latin typeface="HelveticaNeueLT Pro 35 Th" panose="020B0403020202020204"/>
              </a:rPr>
              <a:t>vezi</a:t>
            </a:r>
            <a:r>
              <a:rPr lang="en-US" sz="1600" b="1" i="1" dirty="0">
                <a:latin typeface="HelveticaNeueLT Pro 35 Th" panose="020B0403020202020204"/>
              </a:rPr>
              <a:t> </a:t>
            </a:r>
            <a:r>
              <a:rPr lang="en-US" sz="1600" b="1" i="1" dirty="0" err="1">
                <a:latin typeface="HelveticaNeueLT Pro 35 Th" panose="020B0403020202020204"/>
              </a:rPr>
              <a:t>pridruživanj</a:t>
            </a:r>
            <a:r>
              <a:rPr lang="sr-Latn-RS" sz="1600" b="1" i="1" dirty="0">
                <a:latin typeface="HelveticaNeueLT Pro 35 Th" panose="020B0403020202020204"/>
              </a:rPr>
              <a:t>a</a:t>
            </a:r>
            <a:r>
              <a:rPr lang="en-US" sz="1600" b="1" i="1" dirty="0">
                <a:latin typeface="HelveticaNeueLT Pro 35 Th" panose="020B0403020202020204"/>
              </a:rPr>
              <a:t> Srbije </a:t>
            </a:r>
            <a:r>
              <a:rPr lang="en-US" sz="1600" b="1" i="1" dirty="0" err="1">
                <a:latin typeface="HelveticaNeueLT Pro 35 Th" panose="020B0403020202020204"/>
              </a:rPr>
              <a:t>međunarodnim</a:t>
            </a:r>
            <a:r>
              <a:rPr lang="en-US" sz="1600" b="1" i="1" dirty="0">
                <a:latin typeface="HelveticaNeueLT Pro 35 Th" panose="020B0403020202020204"/>
              </a:rPr>
              <a:t> </a:t>
            </a:r>
            <a:r>
              <a:rPr lang="en-US" sz="1600" b="1" i="1" dirty="0" err="1">
                <a:latin typeface="HelveticaNeueLT Pro 35 Th" panose="020B0403020202020204"/>
              </a:rPr>
              <a:t>organizacijama</a:t>
            </a:r>
            <a:r>
              <a:rPr lang="sr-Latn-RS" sz="1600" b="1" i="1" dirty="0">
                <a:latin typeface="HelveticaNeueLT Pro 35 Th" panose="020B0403020202020204"/>
              </a:rPr>
              <a:t> </a:t>
            </a:r>
            <a:r>
              <a:rPr lang="sr-Latn-RS" sz="1600" i="1" dirty="0">
                <a:latin typeface="HelveticaNeueLT Pro 35 Th" panose="020B0403020202020204"/>
              </a:rPr>
              <a:t>(pr. EMBL, BBMRI)</a:t>
            </a:r>
            <a:endParaRPr lang="en-US" sz="1600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Latn-RS" sz="1600" i="1" dirty="0">
              <a:latin typeface="HelveticaNeueLT Pro 35 Th" panose="020B0403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sz="1600" b="1" i="1" dirty="0">
                <a:latin typeface="HelveticaNeueLT Pro 35 Th" panose="020B0403020202020204"/>
              </a:rPr>
              <a:t>Međunarodna konferencija „Budućnost biotehnologije“,</a:t>
            </a:r>
            <a:r>
              <a:rPr lang="sr-Latn-RS" sz="1600" i="1" dirty="0">
                <a:latin typeface="HelveticaNeueLT Pro 35 Th" panose="020B0403020202020204"/>
              </a:rPr>
              <a:t> 19-20. oktobar 2023. godine, Beograd  </a:t>
            </a:r>
            <a:endParaRPr lang="en-US" sz="1600" i="1" dirty="0">
              <a:latin typeface="HelveticaNeueLT Pro 35 Th" panose="020B0403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366258861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737EFBD-0743-429B-A431-737F5EA6C3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7350" y="1105148"/>
            <a:ext cx="11569700" cy="5328857"/>
          </a:xfrm>
        </p:spPr>
        <p:txBody>
          <a:bodyPr>
            <a:normAutofit/>
          </a:bodyPr>
          <a:lstStyle/>
          <a:p>
            <a:r>
              <a:rPr lang="sr-Latn-RS" sz="2400" dirty="0"/>
              <a:t>GENOMSKI EKOSISTEM REPUBLIKE SRBIJE</a:t>
            </a:r>
            <a:endParaRPr lang="en-US" sz="2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A03B92-304F-4EB7-8D8E-AF55E15836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3EA27A-89F1-4C6E-8506-15FB0DCE3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078" y="190945"/>
            <a:ext cx="9940253" cy="685801"/>
          </a:xfrm>
        </p:spPr>
        <p:txBody>
          <a:bodyPr/>
          <a:lstStyle/>
          <a:p>
            <a:r>
              <a:rPr lang="sr-Latn-RS" dirty="0"/>
              <a:t>Analiza trenutnog stanja, dr Nevena Veljković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642937-47E5-47E1-B466-31287B1200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5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BCF3190-54C6-491F-B003-098F142E9B29}"/>
              </a:ext>
            </a:extLst>
          </p:cNvPr>
          <p:cNvSpPr/>
          <p:nvPr/>
        </p:nvSpPr>
        <p:spPr>
          <a:xfrm>
            <a:off x="372889" y="1690357"/>
            <a:ext cx="4862687" cy="2588195"/>
          </a:xfrm>
          <a:prstGeom prst="roundRect">
            <a:avLst/>
          </a:prstGeom>
          <a:noFill/>
          <a:ln w="28575">
            <a:solidFill>
              <a:srgbClr val="2A4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BF6BA7E-19E1-4216-B064-358988FEE59F}"/>
              </a:ext>
            </a:extLst>
          </p:cNvPr>
          <p:cNvSpPr/>
          <p:nvPr/>
        </p:nvSpPr>
        <p:spPr>
          <a:xfrm>
            <a:off x="387351" y="4430952"/>
            <a:ext cx="4848226" cy="2231455"/>
          </a:xfrm>
          <a:prstGeom prst="roundRect">
            <a:avLst/>
          </a:prstGeom>
          <a:noFill/>
          <a:ln w="28575">
            <a:solidFill>
              <a:srgbClr val="32AE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68103E8-3F0F-4FE8-8C78-6BB64845C0D7}"/>
              </a:ext>
            </a:extLst>
          </p:cNvPr>
          <p:cNvSpPr/>
          <p:nvPr/>
        </p:nvSpPr>
        <p:spPr>
          <a:xfrm>
            <a:off x="5571460" y="1690357"/>
            <a:ext cx="6326215" cy="4962525"/>
          </a:xfrm>
          <a:prstGeom prst="roundRect">
            <a:avLst/>
          </a:prstGeom>
          <a:noFill/>
          <a:ln w="28575">
            <a:solidFill>
              <a:srgbClr val="22EC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rtlCol="0" anchor="ctr"/>
          <a:lstStyle/>
          <a:p>
            <a:pPr algn="ctr"/>
            <a:endParaRPr kumimoji="1"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A6448A-3F83-49D2-99F3-ACDE35938D26}"/>
              </a:ext>
            </a:extLst>
          </p:cNvPr>
          <p:cNvSpPr txBox="1"/>
          <p:nvPr/>
        </p:nvSpPr>
        <p:spPr>
          <a:xfrm>
            <a:off x="534814" y="1842757"/>
            <a:ext cx="4544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b="1" dirty="0"/>
              <a:t>Zašto nam je potrebna genetička baza?</a:t>
            </a:r>
            <a:endParaRPr lang="en-US" b="1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98516F-4AE3-4544-A3AF-4722A36AA7E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4814" y="2172482"/>
            <a:ext cx="4544040" cy="206353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E949E84-412A-40B1-BF2F-8828E71C459B}"/>
              </a:ext>
            </a:extLst>
          </p:cNvPr>
          <p:cNvSpPr txBox="1"/>
          <p:nvPr/>
        </p:nvSpPr>
        <p:spPr>
          <a:xfrm>
            <a:off x="538354" y="4568240"/>
            <a:ext cx="4544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b="1" dirty="0"/>
              <a:t>Institucije koje rade </a:t>
            </a:r>
            <a:r>
              <a:rPr lang="sr-Latn-RS" b="1" dirty="0" err="1"/>
              <a:t>sekvenciranje</a:t>
            </a:r>
            <a:r>
              <a:rPr lang="sr-Latn-RS" b="1" dirty="0"/>
              <a:t> u Srbiji</a:t>
            </a:r>
            <a:endParaRPr lang="en-US" b="1" dirty="0"/>
          </a:p>
        </p:txBody>
      </p:sp>
      <p:graphicFrame>
        <p:nvGraphicFramePr>
          <p:cNvPr id="22" name="Table 22">
            <a:extLst>
              <a:ext uri="{FF2B5EF4-FFF2-40B4-BE49-F238E27FC236}">
                <a16:creationId xmlns:a16="http://schemas.microsoft.com/office/drawing/2014/main" id="{796D0D25-C873-4DEF-BF7E-7E0FFECB3E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5917815"/>
              </p:ext>
            </p:extLst>
          </p:nvPr>
        </p:nvGraphicFramePr>
        <p:xfrm>
          <a:off x="605944" y="4931370"/>
          <a:ext cx="4396576" cy="16764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198288">
                  <a:extLst>
                    <a:ext uri="{9D8B030D-6E8A-4147-A177-3AD203B41FA5}">
                      <a16:colId xmlns:a16="http://schemas.microsoft.com/office/drawing/2014/main" val="2089579117"/>
                    </a:ext>
                  </a:extLst>
                </a:gridCol>
                <a:gridCol w="2198288">
                  <a:extLst>
                    <a:ext uri="{9D8B030D-6E8A-4147-A177-3AD203B41FA5}">
                      <a16:colId xmlns:a16="http://schemas.microsoft.com/office/drawing/2014/main" val="3656646263"/>
                    </a:ext>
                  </a:extLst>
                </a:gridCol>
              </a:tblGrid>
              <a:tr h="308207">
                <a:tc>
                  <a:txBody>
                    <a:bodyPr/>
                    <a:lstStyle/>
                    <a:p>
                      <a:pPr algn="ctr"/>
                      <a:r>
                        <a:rPr lang="sr-Latn-RS" sz="1600" b="0" dirty="0"/>
                        <a:t>Biološki fakultet, UB</a:t>
                      </a:r>
                      <a:endParaRPr lang="en-US" sz="1600" b="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600" b="0" dirty="0"/>
                        <a:t>VSIK</a:t>
                      </a:r>
                      <a:endParaRPr lang="en-US" sz="1600" b="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4026694"/>
                  </a:ext>
                </a:extLst>
              </a:tr>
              <a:tr h="308207"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/>
                        <a:t>Medicinski fakultet, UB</a:t>
                      </a:r>
                      <a:endParaRPr lang="en-US" sz="1600" dirty="0"/>
                    </a:p>
                  </a:txBody>
                  <a:tcPr>
                    <a:solidFill>
                      <a:srgbClr val="32AEA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/>
                        <a:t>DNRL</a:t>
                      </a:r>
                      <a:endParaRPr lang="en-US" sz="1600" dirty="0"/>
                    </a:p>
                  </a:txBody>
                  <a:tcPr>
                    <a:solidFill>
                      <a:srgbClr val="32AEA4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012465"/>
                  </a:ext>
                </a:extLst>
              </a:tr>
              <a:tr h="308207"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/>
                        <a:t>IMGGI, UB</a:t>
                      </a:r>
                      <a:endParaRPr lang="en-US" sz="160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/>
                        <a:t>GAK „Narodni front“</a:t>
                      </a:r>
                      <a:endParaRPr lang="en-US" sz="160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3130334"/>
                  </a:ext>
                </a:extLst>
              </a:tr>
              <a:tr h="308207"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/>
                        <a:t>INN Vinča, UB</a:t>
                      </a:r>
                      <a:endParaRPr lang="en-US" sz="1600" dirty="0"/>
                    </a:p>
                  </a:txBody>
                  <a:tcPr>
                    <a:solidFill>
                      <a:srgbClr val="32AEA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/>
                        <a:t>IZZDOV, IJZV</a:t>
                      </a:r>
                      <a:endParaRPr lang="en-US" sz="1600" dirty="0"/>
                    </a:p>
                  </a:txBody>
                  <a:tcPr>
                    <a:solidFill>
                      <a:srgbClr val="32AEA4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82419"/>
                  </a:ext>
                </a:extLst>
              </a:tr>
              <a:tr h="308207">
                <a:tc>
                  <a:txBody>
                    <a:bodyPr/>
                    <a:lstStyle/>
                    <a:p>
                      <a:pPr marL="0" marR="0" lvl="0" indent="0" algn="ctr" defTabSz="9141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RS" sz="1600" b="0" dirty="0"/>
                        <a:t>IORS</a:t>
                      </a:r>
                      <a:endParaRPr lang="en-US" sz="1600" dirty="0"/>
                    </a:p>
                  </a:txBody>
                  <a:tcPr>
                    <a:solidFill>
                      <a:schemeClr val="accent6">
                        <a:lumMod val="9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600" dirty="0"/>
                        <a:t>NIV NS</a:t>
                      </a:r>
                      <a:endParaRPr lang="en-US" sz="1600" dirty="0"/>
                    </a:p>
                  </a:txBody>
                  <a:tcPr>
                    <a:solidFill>
                      <a:schemeClr val="accent6">
                        <a:lumMod val="9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485419"/>
                  </a:ext>
                </a:extLst>
              </a:tr>
            </a:tbl>
          </a:graphicData>
        </a:graphic>
      </p:graphicFrame>
      <p:pic>
        <p:nvPicPr>
          <p:cNvPr id="24" name="Picture 23" descr="Chart, pie chart&#10;&#10;Description automatically generated">
            <a:extLst>
              <a:ext uri="{FF2B5EF4-FFF2-40B4-BE49-F238E27FC236}">
                <a16:creationId xmlns:a16="http://schemas.microsoft.com/office/drawing/2014/main" id="{AB3F6F31-B340-48D6-96FB-8905D738B22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10"/>
          <a:stretch/>
        </p:blipFill>
        <p:spPr>
          <a:xfrm>
            <a:off x="5686567" y="2172482"/>
            <a:ext cx="6096000" cy="290402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4185F86-D98C-4B67-89E4-57D112C6AA2F}"/>
              </a:ext>
            </a:extLst>
          </p:cNvPr>
          <p:cNvSpPr txBox="1"/>
          <p:nvPr/>
        </p:nvSpPr>
        <p:spPr>
          <a:xfrm>
            <a:off x="6416407" y="1842757"/>
            <a:ext cx="4544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b="1" dirty="0"/>
              <a:t>Rezultati</a:t>
            </a:r>
            <a:endParaRPr lang="en-US" b="1" dirty="0"/>
          </a:p>
        </p:txBody>
      </p:sp>
      <p:graphicFrame>
        <p:nvGraphicFramePr>
          <p:cNvPr id="26" name="Table 22">
            <a:extLst>
              <a:ext uri="{FF2B5EF4-FFF2-40B4-BE49-F238E27FC236}">
                <a16:creationId xmlns:a16="http://schemas.microsoft.com/office/drawing/2014/main" id="{08DF5885-A0CC-45A7-BF33-7547DDE5A1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5371419"/>
              </p:ext>
            </p:extLst>
          </p:nvPr>
        </p:nvGraphicFramePr>
        <p:xfrm>
          <a:off x="6951170" y="5067830"/>
          <a:ext cx="4009277" cy="14478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710684606"/>
                    </a:ext>
                  </a:extLst>
                </a:gridCol>
                <a:gridCol w="883305">
                  <a:extLst>
                    <a:ext uri="{9D8B030D-6E8A-4147-A177-3AD203B41FA5}">
                      <a16:colId xmlns:a16="http://schemas.microsoft.com/office/drawing/2014/main" val="2089579117"/>
                    </a:ext>
                  </a:extLst>
                </a:gridCol>
                <a:gridCol w="1020726">
                  <a:extLst>
                    <a:ext uri="{9D8B030D-6E8A-4147-A177-3AD203B41FA5}">
                      <a16:colId xmlns:a16="http://schemas.microsoft.com/office/drawing/2014/main" val="3532262044"/>
                    </a:ext>
                  </a:extLst>
                </a:gridCol>
                <a:gridCol w="733646">
                  <a:extLst>
                    <a:ext uri="{9D8B030D-6E8A-4147-A177-3AD203B41FA5}">
                      <a16:colId xmlns:a16="http://schemas.microsoft.com/office/drawing/2014/main" val="1561341543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/>
                      <a:endParaRPr lang="en-US" sz="1300" b="1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b="1" dirty="0"/>
                        <a:t>Humani</a:t>
                      </a:r>
                      <a:endParaRPr lang="en-US" sz="1300" b="1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b="1" dirty="0" err="1"/>
                        <a:t>Mikroorg</a:t>
                      </a:r>
                      <a:r>
                        <a:rPr lang="sr-Latn-RS" sz="1300" b="1" dirty="0"/>
                        <a:t>.</a:t>
                      </a:r>
                      <a:endParaRPr lang="en-US" sz="1300" b="1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b="1" dirty="0"/>
                        <a:t>Virusi</a:t>
                      </a:r>
                      <a:endParaRPr lang="en-US" sz="1300" b="1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402669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sr-Latn-RS" sz="1300" b="1" dirty="0"/>
                        <a:t>WGS</a:t>
                      </a:r>
                      <a:endParaRPr lang="en-US" sz="1300" b="1" dirty="0"/>
                    </a:p>
                  </a:txBody>
                  <a:tcP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dirty="0"/>
                        <a:t>140</a:t>
                      </a:r>
                      <a:endParaRPr lang="en-US" sz="1300" dirty="0"/>
                    </a:p>
                  </a:txBody>
                  <a:tcP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dirty="0"/>
                        <a:t>&gt;1000</a:t>
                      </a:r>
                      <a:endParaRPr lang="en-US" sz="1300" dirty="0"/>
                    </a:p>
                  </a:txBody>
                  <a:tcP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dirty="0"/>
                        <a:t>&gt;1000</a:t>
                      </a:r>
                      <a:endParaRPr lang="en-US" sz="1300" dirty="0"/>
                    </a:p>
                  </a:txBody>
                  <a:tcP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01246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sr-Latn-RS" sz="1300" b="1" dirty="0"/>
                        <a:t>WES</a:t>
                      </a:r>
                      <a:endParaRPr lang="en-US" sz="1300" b="1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dirty="0"/>
                        <a:t>120</a:t>
                      </a:r>
                      <a:endParaRPr lang="en-US" sz="130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313033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sr-Latn-RS" sz="1300" b="1" dirty="0"/>
                        <a:t>CES</a:t>
                      </a:r>
                      <a:endParaRPr lang="en-US" sz="1300" b="1" dirty="0"/>
                    </a:p>
                  </a:txBody>
                  <a:tcP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dirty="0"/>
                        <a:t>200</a:t>
                      </a:r>
                      <a:endParaRPr lang="en-US" sz="1300" dirty="0"/>
                    </a:p>
                  </a:txBody>
                  <a:tcP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/>
                    </a:p>
                  </a:txBody>
                  <a:tcP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98241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sr-Latn-RS" sz="1300" b="1" dirty="0"/>
                        <a:t>TES</a:t>
                      </a:r>
                      <a:endParaRPr lang="en-US" sz="1300" b="1" dirty="0"/>
                    </a:p>
                  </a:txBody>
                  <a:tcPr>
                    <a:solidFill>
                      <a:schemeClr val="accent6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dirty="0"/>
                        <a:t>&gt;1000</a:t>
                      </a:r>
                      <a:endParaRPr lang="en-US" sz="1300" dirty="0"/>
                    </a:p>
                  </a:txBody>
                  <a:tcPr>
                    <a:solidFill>
                      <a:schemeClr val="accent6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dirty="0"/>
                        <a:t>&gt;1000</a:t>
                      </a:r>
                      <a:endParaRPr lang="en-US" sz="1300" dirty="0"/>
                    </a:p>
                  </a:txBody>
                  <a:tcPr>
                    <a:solidFill>
                      <a:schemeClr val="accent6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RS" sz="1300" dirty="0"/>
                        <a:t>&gt;1000</a:t>
                      </a:r>
                      <a:endParaRPr lang="en-US" sz="1300" dirty="0"/>
                    </a:p>
                  </a:txBody>
                  <a:tcPr>
                    <a:solidFill>
                      <a:schemeClr val="accent6">
                        <a:lumMod val="8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76802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0311252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6A44619-7332-4E4B-9C53-C57CC480E9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1150" y="1226210"/>
            <a:ext cx="11569700" cy="5328857"/>
          </a:xfrm>
        </p:spPr>
        <p:txBody>
          <a:bodyPr>
            <a:normAutofit lnSpcReduction="10000"/>
          </a:bodyPr>
          <a:lstStyle/>
          <a:p>
            <a:r>
              <a:rPr lang="en-US" sz="2000" b="1" dirty="0" err="1"/>
              <a:t>Cilj</a:t>
            </a:r>
            <a:r>
              <a:rPr lang="sr-Latn-RS" sz="2000" b="1" dirty="0"/>
              <a:t>: </a:t>
            </a:r>
            <a:r>
              <a:rPr lang="en-US" sz="2000" dirty="0" err="1"/>
              <a:t>uspostavljanje</a:t>
            </a:r>
            <a:r>
              <a:rPr lang="en-US" sz="2000" dirty="0"/>
              <a:t> </a:t>
            </a:r>
            <a:r>
              <a:rPr lang="sr-Latn-RS" sz="2000" dirty="0"/>
              <a:t>IT</a:t>
            </a:r>
            <a:r>
              <a:rPr lang="en-US" sz="2000" dirty="0"/>
              <a:t> </a:t>
            </a:r>
            <a:r>
              <a:rPr lang="en-US" sz="2000" dirty="0" err="1"/>
              <a:t>infrastrukture</a:t>
            </a:r>
            <a:r>
              <a:rPr lang="sr-Latn-RS" sz="2000" dirty="0"/>
              <a:t> i servisa za trajno čuvanje i upotrebu genetičkih i drugih </a:t>
            </a:r>
            <a:r>
              <a:rPr lang="sr-Latn-RS" sz="2000" dirty="0" err="1"/>
              <a:t>biomedicinskih</a:t>
            </a:r>
            <a:r>
              <a:rPr lang="sr-Latn-RS" sz="2000" dirty="0"/>
              <a:t> podataka, dobijenih u naučnim i kliničkim istraživanjima i iz zdravstvenog sistema</a:t>
            </a:r>
            <a:endParaRPr lang="en-US" sz="2000" dirty="0"/>
          </a:p>
          <a:p>
            <a:pPr marL="742818" lvl="1" indent="-28575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sr-Latn-RS" sz="1800" dirty="0"/>
              <a:t>da se </a:t>
            </a:r>
            <a:r>
              <a:rPr lang="en-US" sz="1800" dirty="0" err="1"/>
              <a:t>genetički</a:t>
            </a:r>
            <a:r>
              <a:rPr lang="en-US" sz="1800" dirty="0"/>
              <a:t> </a:t>
            </a:r>
            <a:r>
              <a:rPr lang="en-US" sz="1800" dirty="0" err="1"/>
              <a:t>podaci</a:t>
            </a:r>
            <a:r>
              <a:rPr lang="en-US" sz="1800" dirty="0"/>
              <a:t> </a:t>
            </a:r>
            <a:r>
              <a:rPr lang="en-US" sz="1800" dirty="0" err="1"/>
              <a:t>skladište</a:t>
            </a:r>
            <a:r>
              <a:rPr lang="en-US" sz="1800" dirty="0"/>
              <a:t> </a:t>
            </a:r>
            <a:r>
              <a:rPr lang="en-US" sz="1800" dirty="0" err="1"/>
              <a:t>na</a:t>
            </a:r>
            <a:r>
              <a:rPr lang="en-US" sz="1800" dirty="0"/>
              <a:t> </a:t>
            </a:r>
            <a:r>
              <a:rPr lang="en-US" sz="1800" dirty="0" err="1"/>
              <a:t>bezbedan</a:t>
            </a:r>
            <a:r>
              <a:rPr lang="en-US" sz="1800" dirty="0"/>
              <a:t> </a:t>
            </a:r>
            <a:r>
              <a:rPr lang="en-US" sz="1800" dirty="0" err="1"/>
              <a:t>način</a:t>
            </a:r>
            <a:r>
              <a:rPr lang="sr-Latn-RS" sz="1800" dirty="0"/>
              <a:t>,</a:t>
            </a:r>
            <a:r>
              <a:rPr lang="en-US" sz="1800" dirty="0"/>
              <a:t> u </a:t>
            </a:r>
            <a:r>
              <a:rPr lang="en-US" sz="1800" dirty="0" err="1"/>
              <a:t>skladu</a:t>
            </a:r>
            <a:r>
              <a:rPr lang="en-US" sz="1800" dirty="0"/>
              <a:t> </a:t>
            </a:r>
            <a:r>
              <a:rPr lang="en-US" sz="1800" dirty="0" err="1"/>
              <a:t>sa</a:t>
            </a:r>
            <a:r>
              <a:rPr lang="en-US" sz="1800" dirty="0"/>
              <a:t> </a:t>
            </a:r>
            <a:r>
              <a:rPr lang="en-US" sz="1800" dirty="0" err="1"/>
              <a:t>zakonskom</a:t>
            </a:r>
            <a:r>
              <a:rPr lang="en-US" sz="1800" dirty="0"/>
              <a:t> </a:t>
            </a:r>
            <a:r>
              <a:rPr lang="en-US" sz="1800" dirty="0" err="1"/>
              <a:t>regulativom</a:t>
            </a:r>
            <a:endParaRPr lang="en-US" sz="1800" dirty="0"/>
          </a:p>
          <a:p>
            <a:pPr marL="742818" lvl="1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sz="1800" dirty="0"/>
              <a:t>da se </a:t>
            </a:r>
            <a:r>
              <a:rPr lang="en-US" sz="1800" dirty="0" err="1"/>
              <a:t>genetički</a:t>
            </a:r>
            <a:r>
              <a:rPr lang="en-US" sz="1800" dirty="0"/>
              <a:t> </a:t>
            </a:r>
            <a:r>
              <a:rPr lang="en-US" sz="1800" dirty="0" err="1"/>
              <a:t>i</a:t>
            </a:r>
            <a:r>
              <a:rPr lang="en-US" sz="1800" dirty="0"/>
              <a:t> </a:t>
            </a:r>
            <a:r>
              <a:rPr lang="en-US" sz="1800" dirty="0" err="1"/>
              <a:t>drugi</a:t>
            </a:r>
            <a:r>
              <a:rPr lang="en-US" sz="1800" dirty="0"/>
              <a:t> </a:t>
            </a:r>
            <a:r>
              <a:rPr lang="en-US" sz="1800" dirty="0" err="1"/>
              <a:t>biomedicinski</a:t>
            </a:r>
            <a:r>
              <a:rPr lang="en-US" sz="1800" dirty="0"/>
              <a:t> </a:t>
            </a:r>
            <a:r>
              <a:rPr lang="en-US" sz="1800" dirty="0" err="1"/>
              <a:t>podaci</a:t>
            </a:r>
            <a:r>
              <a:rPr lang="en-US" sz="1800" dirty="0"/>
              <a:t> </a:t>
            </a:r>
            <a:r>
              <a:rPr lang="en-US" sz="1800" dirty="0" err="1"/>
              <a:t>koriste</a:t>
            </a:r>
            <a:r>
              <a:rPr lang="sr-Latn-RS" sz="1800" dirty="0"/>
              <a:t>, </a:t>
            </a:r>
            <a:r>
              <a:rPr lang="en-US" sz="1800" dirty="0"/>
              <a:t>u </a:t>
            </a:r>
            <a:r>
              <a:rPr lang="en-US" sz="1800" dirty="0" err="1"/>
              <a:t>skladu</a:t>
            </a:r>
            <a:r>
              <a:rPr lang="en-US" sz="1800" dirty="0"/>
              <a:t> </a:t>
            </a:r>
            <a:r>
              <a:rPr lang="en-US" sz="1800" dirty="0" err="1"/>
              <a:t>sa</a:t>
            </a:r>
            <a:r>
              <a:rPr lang="en-US" sz="1800" dirty="0"/>
              <a:t> </a:t>
            </a:r>
            <a:r>
              <a:rPr lang="en-US" sz="1800" dirty="0" err="1"/>
              <a:t>zakonskom</a:t>
            </a:r>
            <a:r>
              <a:rPr lang="en-US" sz="1800" dirty="0"/>
              <a:t> </a:t>
            </a:r>
            <a:r>
              <a:rPr lang="en-US" sz="1800" dirty="0" err="1"/>
              <a:t>regulativom</a:t>
            </a:r>
            <a:r>
              <a:rPr lang="en-US" sz="1800" dirty="0"/>
              <a:t>:</a:t>
            </a:r>
          </a:p>
          <a:p>
            <a:pPr marL="1199899" lvl="2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sr-Latn-RS" sz="1600" dirty="0"/>
              <a:t>naučne i kliničke istraživačke studije</a:t>
            </a:r>
          </a:p>
          <a:p>
            <a:pPr marL="1199899" lvl="2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sr-Latn-RS" sz="1600" dirty="0"/>
              <a:t>r</a:t>
            </a:r>
            <a:r>
              <a:rPr lang="en-US" sz="1600" dirty="0" err="1"/>
              <a:t>azvoj</a:t>
            </a:r>
            <a:r>
              <a:rPr lang="en-US" sz="1600" dirty="0"/>
              <a:t> </a:t>
            </a:r>
            <a:r>
              <a:rPr lang="en-US" sz="1600" dirty="0" err="1"/>
              <a:t>informatičkih</a:t>
            </a:r>
            <a:r>
              <a:rPr lang="en-US" sz="1600" dirty="0"/>
              <a:t> </a:t>
            </a:r>
            <a:r>
              <a:rPr lang="en-US" sz="1600" dirty="0" err="1"/>
              <a:t>alata</a:t>
            </a:r>
            <a:r>
              <a:rPr lang="sr-Latn-RS" sz="1600" dirty="0"/>
              <a:t>,</a:t>
            </a:r>
            <a:r>
              <a:rPr lang="en-US" sz="1600" dirty="0"/>
              <a:t> koji </a:t>
            </a:r>
            <a:r>
              <a:rPr lang="en-US" sz="1600" dirty="0" err="1"/>
              <a:t>doprinose</a:t>
            </a:r>
            <a:r>
              <a:rPr lang="en-US" sz="1600" dirty="0"/>
              <a:t> </a:t>
            </a:r>
            <a:r>
              <a:rPr lang="en-US" sz="1600" dirty="0" err="1"/>
              <a:t>lečenju</a:t>
            </a:r>
            <a:r>
              <a:rPr lang="en-US" sz="1600" dirty="0"/>
              <a:t>, </a:t>
            </a:r>
            <a:r>
              <a:rPr lang="en-US" sz="1600" dirty="0" err="1"/>
              <a:t>prevenciji</a:t>
            </a:r>
            <a:r>
              <a:rPr lang="en-US" sz="1600" dirty="0"/>
              <a:t> </a:t>
            </a:r>
            <a:r>
              <a:rPr lang="en-US" sz="1600" dirty="0" err="1"/>
              <a:t>i</a:t>
            </a:r>
            <a:r>
              <a:rPr lang="en-US" sz="1600" dirty="0"/>
              <a:t> </a:t>
            </a:r>
            <a:r>
              <a:rPr lang="en-US" sz="1600" dirty="0" err="1"/>
              <a:t>ranoj</a:t>
            </a:r>
            <a:r>
              <a:rPr lang="en-US" sz="1600" dirty="0"/>
              <a:t> </a:t>
            </a:r>
            <a:r>
              <a:rPr lang="en-US" sz="1600" dirty="0" err="1"/>
              <a:t>dijagnostici</a:t>
            </a:r>
            <a:r>
              <a:rPr lang="en-US" sz="1600" dirty="0"/>
              <a:t> bolesti</a:t>
            </a:r>
            <a:endParaRPr lang="sr-Latn-RS" sz="1600" dirty="0"/>
          </a:p>
          <a:p>
            <a:pPr>
              <a:spcAft>
                <a:spcPts val="0"/>
              </a:spcAft>
            </a:pPr>
            <a:endParaRPr lang="sr-Latn-RS" sz="2000" b="1" dirty="0"/>
          </a:p>
          <a:p>
            <a:pPr>
              <a:lnSpc>
                <a:spcPct val="150000"/>
              </a:lnSpc>
            </a:pPr>
            <a:r>
              <a:rPr lang="sr-Latn-RS" sz="2000" b="1" dirty="0"/>
              <a:t>Osnovne karakteristike</a:t>
            </a:r>
            <a:endParaRPr lang="en-US" sz="2000" b="1" dirty="0"/>
          </a:p>
          <a:p>
            <a:pPr marL="742818" lvl="1" indent="-285750">
              <a:buFont typeface="Wingdings" panose="05000000000000000000" pitchFamily="2" charset="2"/>
              <a:buChar char="v"/>
            </a:pPr>
            <a:r>
              <a:rPr lang="sr-Latn-RS" sz="1800" dirty="0"/>
              <a:t>Sigurno okruženje za skladištenje podataka</a:t>
            </a:r>
          </a:p>
          <a:p>
            <a:pPr marL="1199899" lvl="2" indent="-285750">
              <a:buFont typeface="Wingdings" panose="05000000000000000000" pitchFamily="2" charset="2"/>
              <a:buChar char="Ø"/>
            </a:pPr>
            <a:r>
              <a:rPr lang="sr-Latn-RS" sz="1600" dirty="0" err="1"/>
              <a:t>Enkripcija</a:t>
            </a:r>
            <a:r>
              <a:rPr lang="sr-Latn-RS" sz="1600" dirty="0"/>
              <a:t> podataka - GA4GH Crypt4GH v1</a:t>
            </a:r>
          </a:p>
          <a:p>
            <a:pPr marL="1199899" lvl="2" indent="-285750">
              <a:buFont typeface="Wingdings" panose="05000000000000000000" pitchFamily="2" charset="2"/>
              <a:buChar char="Ø"/>
            </a:pPr>
            <a:r>
              <a:rPr lang="sr-Latn-RS" sz="1600" dirty="0" err="1"/>
              <a:t>Autentikacija</a:t>
            </a:r>
            <a:r>
              <a:rPr lang="sr-Latn-RS" sz="1600" dirty="0"/>
              <a:t> i Autorizacija za korisnike – kompatibilno sa GA4GH AAI specifikacijom</a:t>
            </a:r>
          </a:p>
          <a:p>
            <a:pPr marL="1199899" lvl="2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sr-Latn-RS" sz="1600" dirty="0"/>
              <a:t>Upravljanje pristupom podacima - GA4GH DUO</a:t>
            </a:r>
          </a:p>
          <a:p>
            <a:pPr marL="742818" lvl="1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sr-Latn-RS" sz="1800" dirty="0"/>
              <a:t>Analitički alat za javno zdravlje</a:t>
            </a:r>
          </a:p>
          <a:p>
            <a:pPr marL="742818" lvl="1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sr-Latn-RS" sz="1800" dirty="0" err="1"/>
              <a:t>Procesovanje</a:t>
            </a:r>
            <a:r>
              <a:rPr lang="sr-Latn-RS" sz="1800" dirty="0"/>
              <a:t> podataka</a:t>
            </a:r>
          </a:p>
          <a:p>
            <a:pPr marL="742818" lvl="1" indent="-285750">
              <a:buFont typeface="Wingdings" panose="05000000000000000000" pitchFamily="2" charset="2"/>
              <a:buChar char="v"/>
            </a:pPr>
            <a:r>
              <a:rPr lang="sr-Latn-RS" sz="1800" dirty="0"/>
              <a:t>Arhiva genetičkih varijanti</a:t>
            </a:r>
          </a:p>
          <a:p>
            <a:pPr marL="1199899" lvl="2" indent="-285750">
              <a:buFont typeface="Wingdings" panose="05000000000000000000" pitchFamily="2" charset="2"/>
              <a:buChar char="Ø"/>
            </a:pPr>
            <a:r>
              <a:rPr lang="sr-Latn-RS" sz="1600" dirty="0"/>
              <a:t>Normalizacija VCF fajlova</a:t>
            </a:r>
          </a:p>
          <a:p>
            <a:pPr marL="1199899" lvl="2" indent="-285750">
              <a:buFont typeface="Wingdings" panose="05000000000000000000" pitchFamily="2" charset="2"/>
              <a:buChar char="Ø"/>
            </a:pPr>
            <a:r>
              <a:rPr lang="sr-Latn-RS" sz="1600" dirty="0"/>
              <a:t>Mapiranje varijantni na referentni genom</a:t>
            </a:r>
          </a:p>
          <a:p>
            <a:pPr marL="1199899" lvl="2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sr-Latn-RS" sz="1600" dirty="0"/>
              <a:t>Podrška za GA4GH </a:t>
            </a:r>
            <a:r>
              <a:rPr lang="sr-Latn-RS" sz="1600" dirty="0" err="1"/>
              <a:t>Beacon</a:t>
            </a:r>
            <a:r>
              <a:rPr lang="sr-Latn-RS" sz="1600" dirty="0"/>
              <a:t> protokol</a:t>
            </a:r>
          </a:p>
          <a:p>
            <a:pPr marL="742818" lvl="1" indent="-285750">
              <a:buFont typeface="Wingdings" panose="05000000000000000000" pitchFamily="2" charset="2"/>
              <a:buChar char="v"/>
            </a:pPr>
            <a:r>
              <a:rPr lang="sr-Latn-RS" sz="1800" dirty="0"/>
              <a:t>Odbor za pristup podacima</a:t>
            </a:r>
          </a:p>
          <a:p>
            <a:pPr marL="1199899" lvl="2" indent="-285750"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F5D934-8BCC-48A0-B788-1E47F49454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28F9CB-38DF-4E05-B56A-1DD61E133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Platforma za genetičke i </a:t>
            </a:r>
            <a:r>
              <a:rPr lang="sr-Latn-RS" dirty="0" err="1"/>
              <a:t>biomedicinske</a:t>
            </a:r>
            <a:r>
              <a:rPr lang="sr-Latn-RS" dirty="0"/>
              <a:t> podatk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37B446-43E9-4F8D-B425-0D1664AA97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6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15646691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C326E9-3413-4776-9D63-4BE55A8714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16747B-56E4-41ED-976B-5CE373BF9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Integralni pogled na platformu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AF38EE-EE58-44CB-96F0-CCEFD15D7E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7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E1C1E867-0902-4AA8-ABE8-CFD0707A512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39" y="1001650"/>
            <a:ext cx="8262521" cy="552135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3733966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C326E9-3413-4776-9D63-4BE55A8714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A16747B-56E4-41ED-976B-5CE373BF9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Korisnički pogled na platformu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AF38EE-EE58-44CB-96F0-CCEFD15D7E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8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64ECC81-D919-4885-9C48-4DAC393E62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06" y="1097200"/>
            <a:ext cx="9325388" cy="517600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9839116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B5338D-6EA2-4905-A889-7CDAAB6A57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JP"/>
              <a:t> </a:t>
            </a:r>
            <a:endParaRPr lang="en-JP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62AFB0E-5DF3-4DF6-BBB9-73B0D9294D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dirty="0"/>
              <a:t>Genetički podaci </a:t>
            </a:r>
            <a:br>
              <a:rPr lang="sr-Latn-RS" dirty="0"/>
            </a:br>
            <a:r>
              <a:rPr lang="sr-Latn-RS" dirty="0"/>
              <a:t>i </a:t>
            </a:r>
            <a:r>
              <a:rPr lang="sr-Latn-RS" dirty="0" err="1"/>
              <a:t>metapodaci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D54FCF-D188-4B77-A3BF-4FE49FBCD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8810"/>
            <a:fld id="{E9B57936-92EF-4126-AE48-1D9D36D15E98}" type="slidenum">
              <a:rPr lang="ja-JP" altLang="en-US" smtClean="0"/>
              <a:pPr defTabSz="1218810"/>
              <a:t>9</a:t>
            </a:fld>
            <a:r>
              <a:rPr lang="sr-Latn-RS" altLang="ja-JP" dirty="0"/>
              <a:t>/17</a:t>
            </a:r>
            <a:endParaRPr lang="ja-JP" alt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0453EF-D2D6-4A24-ABC0-DDEBA905968B}"/>
              </a:ext>
            </a:extLst>
          </p:cNvPr>
          <p:cNvSpPr txBox="1"/>
          <p:nvPr/>
        </p:nvSpPr>
        <p:spPr>
          <a:xfrm>
            <a:off x="0" y="1491435"/>
            <a:ext cx="4957976" cy="4387537"/>
          </a:xfrm>
          <a:prstGeom prst="rect">
            <a:avLst/>
          </a:prstGeom>
        </p:spPr>
        <p:txBody>
          <a:bodyPr vert="horz" lIns="91440" tIns="45720" rIns="91440" bIns="45720" numCol="2" rtlCol="0">
            <a:normAutofit/>
          </a:bodyPr>
          <a:lstStyle/>
          <a:p>
            <a:pPr marL="350391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set</a:t>
            </a: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Izvorna institucija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sr-Latn-R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rsta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Definicije </a:t>
            </a:r>
            <a:r>
              <a:rPr lang="sr-Latn-RS" sz="1600" dirty="0" err="1">
                <a:solidFill>
                  <a:prstClr val="black"/>
                </a:solidFill>
                <a:latin typeface="Calibri" panose="020F0502020204030204"/>
              </a:rPr>
              <a:t>custom</a:t>
            </a: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 atributa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50391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</a:t>
            </a: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JGB broj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sr-Latn-R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lisa daljeg korišćenja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sr-Latn-R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rednosti c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tom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r-Latn-R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ributa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50391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sr-Latn-RS" sz="1600" b="1" dirty="0">
                <a:solidFill>
                  <a:prstClr val="black"/>
                </a:solidFill>
                <a:latin typeface="Calibri" panose="020F0502020204030204"/>
              </a:rPr>
              <a:t>Uzorak</a:t>
            </a:r>
            <a:endParaRPr lang="en-US" sz="1600" b="1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Datum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Biološki način obrade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Biološki izvor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350391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sr-Latn-RS" sz="1600" b="1" dirty="0">
                <a:solidFill>
                  <a:prstClr val="black"/>
                </a:solidFill>
                <a:latin typeface="Calibri" panose="020F0502020204030204"/>
              </a:rPr>
              <a:t>Analiza</a:t>
            </a:r>
            <a:endParaRPr lang="en-US" sz="1600" b="1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Eksperimentalna strategija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Uređaj za </a:t>
            </a:r>
            <a:r>
              <a:rPr lang="sr-Latn-RS" sz="1600" dirty="0" err="1">
                <a:solidFill>
                  <a:prstClr val="black"/>
                </a:solidFill>
                <a:latin typeface="Calibri" panose="020F0502020204030204"/>
              </a:rPr>
              <a:t>sekvenciranje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Alat generisanja datoteka</a:t>
            </a:r>
            <a:endParaRPr lang="en-US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Metod </a:t>
            </a:r>
            <a:r>
              <a:rPr lang="sr-Latn-RS" sz="1600" dirty="0" err="1">
                <a:solidFill>
                  <a:prstClr val="black"/>
                </a:solidFill>
                <a:latin typeface="Calibri" panose="020F0502020204030204"/>
              </a:rPr>
              <a:t>bioinformatičke</a:t>
            </a:r>
            <a:r>
              <a:rPr lang="sr-Latn-RS" sz="1600" dirty="0">
                <a:solidFill>
                  <a:prstClr val="black"/>
                </a:solidFill>
                <a:latin typeface="Calibri" panose="020F0502020204030204"/>
              </a:rPr>
              <a:t> obrade</a:t>
            </a:r>
            <a:r>
              <a:rPr lang="en-US" sz="160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/>
              </a:rPr>
              <a:t>Panel</a:t>
            </a:r>
          </a:p>
          <a:p>
            <a:pPr marL="350391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sr-Latn-RS" sz="1600" b="1" dirty="0">
                <a:solidFill>
                  <a:prstClr val="black"/>
                </a:solidFill>
                <a:latin typeface="Calibri" panose="020F0502020204030204"/>
              </a:rPr>
              <a:t>Datoteka</a:t>
            </a:r>
            <a:endParaRPr lang="en-US" sz="1600" b="1" dirty="0">
              <a:solidFill>
                <a:prstClr val="black"/>
              </a:solidFill>
              <a:latin typeface="Calibri" panose="020F0502020204030204"/>
            </a:endParaRP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/>
              </a:rPr>
              <a:t>BAM (CRAM)</a:t>
            </a:r>
          </a:p>
          <a:p>
            <a:pPr marL="807591" lvl="1" indent="-228600">
              <a:lnSpc>
                <a:spcPct val="110000"/>
              </a:lnSpc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/>
              </a:rPr>
              <a:t>VCF</a:t>
            </a:r>
          </a:p>
          <a:p>
            <a:pPr marL="350391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US" sz="16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D5BCAB-3997-4CF2-B4A2-6A3A9041B8E3}"/>
              </a:ext>
            </a:extLst>
          </p:cNvPr>
          <p:cNvSpPr txBox="1"/>
          <p:nvPr/>
        </p:nvSpPr>
        <p:spPr>
          <a:xfrm>
            <a:off x="-119277" y="4286971"/>
            <a:ext cx="4957976" cy="2373057"/>
          </a:xfrm>
          <a:prstGeom prst="rect">
            <a:avLst/>
          </a:prstGeom>
        </p:spPr>
        <p:txBody>
          <a:bodyPr vert="horz" lIns="91440" tIns="45720" rIns="91440" bIns="45720" numCol="2" rtlCol="0">
            <a:noAutofit/>
          </a:bodyPr>
          <a:lstStyle/>
          <a:p>
            <a:pPr marL="350391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en-US" sz="14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18" name="Picture 17" descr="Diagram&#10;&#10;Description automatically generated">
            <a:extLst>
              <a:ext uri="{FF2B5EF4-FFF2-40B4-BE49-F238E27FC236}">
                <a16:creationId xmlns:a16="http://schemas.microsoft.com/office/drawing/2014/main" id="{CC4C6F9F-081D-414C-A092-44075CE540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100" y="-1472"/>
            <a:ext cx="6890156" cy="6859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309266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s2wmrLno._6pCV7LnE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keda Slide Master">
  <a:themeElements>
    <a:clrScheme name="Takeda 2021">
      <a:dk1>
        <a:srgbClr val="34373F"/>
      </a:dk1>
      <a:lt1>
        <a:srgbClr val="FFFFFF"/>
      </a:lt1>
      <a:dk2>
        <a:srgbClr val="34373F"/>
      </a:dk2>
      <a:lt2>
        <a:srgbClr val="FFFFFF"/>
      </a:lt2>
      <a:accent1>
        <a:srgbClr val="E1242A"/>
      </a:accent1>
      <a:accent2>
        <a:srgbClr val="891515"/>
      </a:accent2>
      <a:accent3>
        <a:srgbClr val="34373F"/>
      </a:accent3>
      <a:accent4>
        <a:srgbClr val="A1A4AC"/>
      </a:accent4>
      <a:accent5>
        <a:srgbClr val="EDF2F4"/>
      </a:accent5>
      <a:accent6>
        <a:srgbClr val="FFFFFF"/>
      </a:accent6>
      <a:hlink>
        <a:srgbClr val="34373F"/>
      </a:hlink>
      <a:folHlink>
        <a:srgbClr val="34373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8575">
          <a:noFill/>
        </a:ln>
      </a:spPr>
      <a:bodyPr wrap="none" rtlCol="0" anchor="ctr"/>
      <a:lstStyle>
        <a:defPPr algn="ctr">
          <a:defRPr kumimoji="1" dirty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  <a:extLst>
    <a:ext uri="{05A4C25C-085E-4340-85A3-A5531E510DB2}">
      <thm15:themeFamily xmlns:thm15="http://schemas.microsoft.com/office/thememl/2012/main" name="Takeda Corporate Overview FEB 2022 EN" id="{FAB16AD6-645A-A84B-B8E7-0CF56FA87C68}" vid="{49FBCE01-F25F-464F-AC8E-F397347173E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8f8f6ee-77b0-4a0b-84bc-8f256da14f12">
      <UserInfo>
        <DisplayName>Gleichauf, Wilma</DisplayName>
        <AccountId>20684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331811318C565C4B8B9773E8DCEFBCFD" ma:contentTypeVersion="12" ma:contentTypeDescription="新しいドキュメントを作成します。" ma:contentTypeScope="" ma:versionID="8dea98ec83e333e911239bc6577a08de">
  <xsd:schema xmlns:xsd="http://www.w3.org/2001/XMLSchema" xmlns:xs="http://www.w3.org/2001/XMLSchema" xmlns:p="http://schemas.microsoft.com/office/2006/metadata/properties" xmlns:ns2="d22c3cd5-af68-46cf-904b-2a67902f633c" xmlns:ns3="d8f8f6ee-77b0-4a0b-84bc-8f256da14f12" targetNamespace="http://schemas.microsoft.com/office/2006/metadata/properties" ma:root="true" ma:fieldsID="6dc83b5f64c51578307a9f7f91204ad1" ns2:_="" ns3:_="">
    <xsd:import namespace="d22c3cd5-af68-46cf-904b-2a67902f633c"/>
    <xsd:import namespace="d8f8f6ee-77b0-4a0b-84bc-8f256da14f1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2c3cd5-af68-46cf-904b-2a67902f63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f8f6ee-77b0-4a0b-84bc-8f256da14f1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64AA88-9994-4773-9B46-6F25641ADC01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documentManagement/types"/>
    <ds:schemaRef ds:uri="http://www.w3.org/XML/1998/namespace"/>
    <ds:schemaRef ds:uri="d22c3cd5-af68-46cf-904b-2a67902f633c"/>
    <ds:schemaRef ds:uri="d8f8f6ee-77b0-4a0b-84bc-8f256da14f12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12E6F71-3634-41E6-8C8D-A2B41C9EA4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2c3cd5-af68-46cf-904b-2a67902f633c"/>
    <ds:schemaRef ds:uri="d8f8f6ee-77b0-4a0b-84bc-8f256da14f1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C3BB52-6112-4A90-B1AF-BB2849B5056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akeda Slide Master</Template>
  <TotalTime>8650</TotalTime>
  <Words>1683</Words>
  <Application>Microsoft Office PowerPoint</Application>
  <PresentationFormat>Widescreen</PresentationFormat>
  <Paragraphs>322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Arial</vt:lpstr>
      <vt:lpstr>Calibri</vt:lpstr>
      <vt:lpstr>HelveticaNeueLT Pro 35 Bd</vt:lpstr>
      <vt:lpstr>HelveticaNeueLT Pro 35 Th</vt:lpstr>
      <vt:lpstr>HelveticaNeueLT Pro 75 Bd</vt:lpstr>
      <vt:lpstr>Wingdings</vt:lpstr>
      <vt:lpstr>Takeda Slide Master</vt:lpstr>
      <vt:lpstr>think-cell Slide</vt:lpstr>
      <vt:lpstr>think-cell スライド</vt:lpstr>
      <vt:lpstr>C4IR Srbija:  Skladištenje i obrada genomskih podataka  Branislava Gemović</vt:lpstr>
      <vt:lpstr>Uvod</vt:lpstr>
      <vt:lpstr>Uloge i projekti</vt:lpstr>
      <vt:lpstr>Aktivnosti koje su u toku...</vt:lpstr>
      <vt:lpstr>Analiza trenutnog stanja, dr Nevena Veljković</vt:lpstr>
      <vt:lpstr>Platforma za genetičke i biomedicinske podatke</vt:lpstr>
      <vt:lpstr>Integralni pogled na platformu</vt:lpstr>
      <vt:lpstr>Korisnički pogled na platformu</vt:lpstr>
      <vt:lpstr>Genetički podaci  i metapodaci</vt:lpstr>
      <vt:lpstr>Pretraživanje i pristup podacima</vt:lpstr>
      <vt:lpstr>DNK skrining – prevencija kardiovaskularnih i onkoloških bolesti</vt:lpstr>
      <vt:lpstr>Zašto nam je potreban genetički skrining?</vt:lpstr>
      <vt:lpstr>ULOGE</vt:lpstr>
      <vt:lpstr>ULOGE</vt:lpstr>
      <vt:lpstr>Državni kapaciteti za skladištenje i obradu genomskih podataka</vt:lpstr>
      <vt:lpstr>Otvorena pitanja…</vt:lpstr>
      <vt:lpstr> Hvala na pažnji!  Kontakti www.c4ir.rs office@c4ir.rs branislava.gemovic@c4ir.r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keda Corporate Overview 2022</dc:title>
  <dc:subject/>
  <dc:creator>Ikei, Saori</dc:creator>
  <cp:keywords/>
  <dc:description/>
  <cp:lastModifiedBy>Branislava Gemović</cp:lastModifiedBy>
  <cp:revision>169</cp:revision>
  <dcterms:created xsi:type="dcterms:W3CDTF">2022-02-09T10:48:11Z</dcterms:created>
  <dcterms:modified xsi:type="dcterms:W3CDTF">2023-03-15T11:31:4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1811318C565C4B8B9773E8DCEFBCFD</vt:lpwstr>
  </property>
</Properties>
</file>